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3"/>
  </p:notesMasterIdLst>
  <p:sldIdLst>
    <p:sldId id="256" r:id="rId8"/>
    <p:sldId id="320" r:id="rId9"/>
    <p:sldId id="355" r:id="rId10"/>
    <p:sldId id="321" r:id="rId11"/>
    <p:sldId id="363" r:id="rId12"/>
    <p:sldId id="364" r:id="rId13"/>
    <p:sldId id="322" r:id="rId14"/>
    <p:sldId id="361" r:id="rId15"/>
    <p:sldId id="362" r:id="rId16"/>
    <p:sldId id="331" r:id="rId17"/>
    <p:sldId id="365" r:id="rId18"/>
    <p:sldId id="329" r:id="rId19"/>
    <p:sldId id="274" r:id="rId20"/>
    <p:sldId id="341" r:id="rId21"/>
    <p:sldId id="358" r:id="rId22"/>
    <p:sldId id="357" r:id="rId23"/>
    <p:sldId id="366" r:id="rId24"/>
    <p:sldId id="356" r:id="rId25"/>
    <p:sldId id="360" r:id="rId26"/>
    <p:sldId id="359" r:id="rId27"/>
    <p:sldId id="338" r:id="rId28"/>
    <p:sldId id="345" r:id="rId29"/>
    <p:sldId id="354" r:id="rId30"/>
    <p:sldId id="350" r:id="rId31"/>
    <p:sldId id="261"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ED6B17"/>
    <a:srgbClr val="CDE1F2"/>
    <a:srgbClr val="FCE3C2"/>
    <a:srgbClr val="F9D4B6"/>
    <a:srgbClr val="EDAD80"/>
    <a:srgbClr val="E46B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737E46-5C00-4D05-85D2-B2DFEF1BFC90}" v="187" dt="2022-08-30T10:39:27.8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tags" Target="tags/tag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614F7FCA-4E0C-4071-BF6C-DEB92F95B250}"/>
    <pc:docChg chg="custSel modSld">
      <pc:chgData name="Frances Meek" userId="f3af35cc-3229-46e1-af36-3525661cfbd3" providerId="ADAL" clId="{614F7FCA-4E0C-4071-BF6C-DEB92F95B250}" dt="2022-08-30T11:37:27.638" v="105" actId="20577"/>
      <pc:docMkLst>
        <pc:docMk/>
      </pc:docMkLst>
      <pc:sldChg chg="modSp mod">
        <pc:chgData name="Frances Meek" userId="f3af35cc-3229-46e1-af36-3525661cfbd3" providerId="ADAL" clId="{614F7FCA-4E0C-4071-BF6C-DEB92F95B250}" dt="2022-08-30T11:37:27.638" v="105" actId="20577"/>
        <pc:sldMkLst>
          <pc:docMk/>
          <pc:sldMk cId="2302005153" sldId="261"/>
        </pc:sldMkLst>
        <pc:spChg chg="mod">
          <ac:chgData name="Frances Meek" userId="f3af35cc-3229-46e1-af36-3525661cfbd3" providerId="ADAL" clId="{614F7FCA-4E0C-4071-BF6C-DEB92F95B250}" dt="2022-08-30T11:37:27.638" v="105" actId="20577"/>
          <ac:spMkLst>
            <pc:docMk/>
            <pc:sldMk cId="2302005153" sldId="261"/>
            <ac:spMk id="3" creationId="{00000000-0000-0000-0000-000000000000}"/>
          </ac:spMkLst>
        </pc:spChg>
      </pc:sldChg>
      <pc:sldChg chg="modSp mod">
        <pc:chgData name="Frances Meek" userId="f3af35cc-3229-46e1-af36-3525661cfbd3" providerId="ADAL" clId="{614F7FCA-4E0C-4071-BF6C-DEB92F95B250}" dt="2022-08-30T11:30:57.302" v="89" actId="20577"/>
        <pc:sldMkLst>
          <pc:docMk/>
          <pc:sldMk cId="3993973292" sldId="274"/>
        </pc:sldMkLst>
        <pc:spChg chg="mod">
          <ac:chgData name="Frances Meek" userId="f3af35cc-3229-46e1-af36-3525661cfbd3" providerId="ADAL" clId="{614F7FCA-4E0C-4071-BF6C-DEB92F95B250}" dt="2022-08-30T11:30:57.302" v="89" actId="20577"/>
          <ac:spMkLst>
            <pc:docMk/>
            <pc:sldMk cId="3993973292" sldId="274"/>
            <ac:spMk id="6" creationId="{A705A842-B67A-1091-B43C-016955CEB56E}"/>
          </ac:spMkLst>
        </pc:spChg>
      </pc:sldChg>
      <pc:sldChg chg="modSp mod">
        <pc:chgData name="Frances Meek" userId="f3af35cc-3229-46e1-af36-3525661cfbd3" providerId="ADAL" clId="{614F7FCA-4E0C-4071-BF6C-DEB92F95B250}" dt="2022-08-30T11:26:54.497" v="15" actId="20577"/>
        <pc:sldMkLst>
          <pc:docMk/>
          <pc:sldMk cId="2831772784" sldId="320"/>
        </pc:sldMkLst>
        <pc:spChg chg="mod">
          <ac:chgData name="Frances Meek" userId="f3af35cc-3229-46e1-af36-3525661cfbd3" providerId="ADAL" clId="{614F7FCA-4E0C-4071-BF6C-DEB92F95B250}" dt="2022-08-30T11:26:54.497" v="15" actId="20577"/>
          <ac:spMkLst>
            <pc:docMk/>
            <pc:sldMk cId="2831772784" sldId="320"/>
            <ac:spMk id="3" creationId="{B08F7FAB-511F-7730-95EA-CDCD60827684}"/>
          </ac:spMkLst>
        </pc:spChg>
      </pc:sldChg>
      <pc:sldChg chg="modSp mod">
        <pc:chgData name="Frances Meek" userId="f3af35cc-3229-46e1-af36-3525661cfbd3" providerId="ADAL" clId="{614F7FCA-4E0C-4071-BF6C-DEB92F95B250}" dt="2022-08-30T11:30:16.021" v="77" actId="1076"/>
        <pc:sldMkLst>
          <pc:docMk/>
          <pc:sldMk cId="3594171061" sldId="331"/>
        </pc:sldMkLst>
        <pc:graphicFrameChg chg="mod modGraphic">
          <ac:chgData name="Frances Meek" userId="f3af35cc-3229-46e1-af36-3525661cfbd3" providerId="ADAL" clId="{614F7FCA-4E0C-4071-BF6C-DEB92F95B250}" dt="2022-08-30T11:30:16.021" v="77" actId="1076"/>
          <ac:graphicFrameMkLst>
            <pc:docMk/>
            <pc:sldMk cId="3594171061" sldId="331"/>
            <ac:graphicFrameMk id="4" creationId="{852C40F4-3A0C-2C57-5C1A-53EF072895F3}"/>
          </ac:graphicFrameMkLst>
        </pc:graphicFrameChg>
      </pc:sldChg>
      <pc:sldChg chg="modSp mod">
        <pc:chgData name="Frances Meek" userId="f3af35cc-3229-46e1-af36-3525661cfbd3" providerId="ADAL" clId="{614F7FCA-4E0C-4071-BF6C-DEB92F95B250}" dt="2022-08-30T11:31:27.011" v="90" actId="2711"/>
        <pc:sldMkLst>
          <pc:docMk/>
          <pc:sldMk cId="1867798484" sldId="341"/>
        </pc:sldMkLst>
        <pc:spChg chg="mod">
          <ac:chgData name="Frances Meek" userId="f3af35cc-3229-46e1-af36-3525661cfbd3" providerId="ADAL" clId="{614F7FCA-4E0C-4071-BF6C-DEB92F95B250}" dt="2022-08-30T11:31:27.011" v="90" actId="2711"/>
          <ac:spMkLst>
            <pc:docMk/>
            <pc:sldMk cId="1867798484" sldId="341"/>
            <ac:spMk id="3" creationId="{B08F7FAB-511F-7730-95EA-CDCD60827684}"/>
          </ac:spMkLst>
        </pc:spChg>
      </pc:sldChg>
      <pc:sldChg chg="modSp mod">
        <pc:chgData name="Frances Meek" userId="f3af35cc-3229-46e1-af36-3525661cfbd3" providerId="ADAL" clId="{614F7FCA-4E0C-4071-BF6C-DEB92F95B250}" dt="2022-08-30T11:33:27.564" v="96" actId="20577"/>
        <pc:sldMkLst>
          <pc:docMk/>
          <pc:sldMk cId="1044731279" sldId="350"/>
        </pc:sldMkLst>
        <pc:spChg chg="mod">
          <ac:chgData name="Frances Meek" userId="f3af35cc-3229-46e1-af36-3525661cfbd3" providerId="ADAL" clId="{614F7FCA-4E0C-4071-BF6C-DEB92F95B250}" dt="2022-08-30T11:33:27.564" v="96" actId="20577"/>
          <ac:spMkLst>
            <pc:docMk/>
            <pc:sldMk cId="1044731279" sldId="350"/>
            <ac:spMk id="4" creationId="{09F9000F-7818-C7CD-8F89-C912622960FD}"/>
          </ac:spMkLst>
        </pc:spChg>
      </pc:sldChg>
      <pc:sldChg chg="modSp mod">
        <pc:chgData name="Frances Meek" userId="f3af35cc-3229-46e1-af36-3525661cfbd3" providerId="ADAL" clId="{614F7FCA-4E0C-4071-BF6C-DEB92F95B250}" dt="2022-08-30T11:32:40.471" v="95" actId="20577"/>
        <pc:sldMkLst>
          <pc:docMk/>
          <pc:sldMk cId="231371897" sldId="359"/>
        </pc:sldMkLst>
        <pc:spChg chg="mod">
          <ac:chgData name="Frances Meek" userId="f3af35cc-3229-46e1-af36-3525661cfbd3" providerId="ADAL" clId="{614F7FCA-4E0C-4071-BF6C-DEB92F95B250}" dt="2022-08-30T11:32:40.471" v="95" actId="20577"/>
          <ac:spMkLst>
            <pc:docMk/>
            <pc:sldMk cId="231371897" sldId="359"/>
            <ac:spMk id="140" creationId="{35E9C7AB-8B81-419D-9240-71B9AFEEC7F3}"/>
          </ac:spMkLst>
        </pc:spChg>
      </pc:sldChg>
      <pc:sldChg chg="modSp mod">
        <pc:chgData name="Frances Meek" userId="f3af35cc-3229-46e1-af36-3525661cfbd3" providerId="ADAL" clId="{614F7FCA-4E0C-4071-BF6C-DEB92F95B250}" dt="2022-08-30T11:28:54.978" v="31" actId="20577"/>
        <pc:sldMkLst>
          <pc:docMk/>
          <pc:sldMk cId="3959102856" sldId="361"/>
        </pc:sldMkLst>
        <pc:spChg chg="mod">
          <ac:chgData name="Frances Meek" userId="f3af35cc-3229-46e1-af36-3525661cfbd3" providerId="ADAL" clId="{614F7FCA-4E0C-4071-BF6C-DEB92F95B250}" dt="2022-08-30T11:28:54.978" v="31" actId="20577"/>
          <ac:spMkLst>
            <pc:docMk/>
            <pc:sldMk cId="3959102856" sldId="361"/>
            <ac:spMk id="6" creationId="{37F21B2D-0E3B-42DC-85A8-4511EB39D461}"/>
          </ac:spMkLst>
        </pc:spChg>
      </pc:sldChg>
      <pc:sldChg chg="modSp mod">
        <pc:chgData name="Frances Meek" userId="f3af35cc-3229-46e1-af36-3525661cfbd3" providerId="ADAL" clId="{614F7FCA-4E0C-4071-BF6C-DEB92F95B250}" dt="2022-08-30T11:29:56.723" v="74" actId="20577"/>
        <pc:sldMkLst>
          <pc:docMk/>
          <pc:sldMk cId="2231330319" sldId="362"/>
        </pc:sldMkLst>
        <pc:spChg chg="mod">
          <ac:chgData name="Frances Meek" userId="f3af35cc-3229-46e1-af36-3525661cfbd3" providerId="ADAL" clId="{614F7FCA-4E0C-4071-BF6C-DEB92F95B250}" dt="2022-08-30T11:29:56.723" v="74" actId="20577"/>
          <ac:spMkLst>
            <pc:docMk/>
            <pc:sldMk cId="2231330319" sldId="362"/>
            <ac:spMk id="6" creationId="{37F21B2D-0E3B-42DC-85A8-4511EB39D461}"/>
          </ac:spMkLst>
        </pc:spChg>
      </pc:sldChg>
      <pc:sldChg chg="modSp mod">
        <pc:chgData name="Frances Meek" userId="f3af35cc-3229-46e1-af36-3525661cfbd3" providerId="ADAL" clId="{614F7FCA-4E0C-4071-BF6C-DEB92F95B250}" dt="2022-08-30T11:30:28.709" v="79" actId="1076"/>
        <pc:sldMkLst>
          <pc:docMk/>
          <pc:sldMk cId="2710691589" sldId="365"/>
        </pc:sldMkLst>
        <pc:graphicFrameChg chg="mod modGraphic">
          <ac:chgData name="Frances Meek" userId="f3af35cc-3229-46e1-af36-3525661cfbd3" providerId="ADAL" clId="{614F7FCA-4E0C-4071-BF6C-DEB92F95B250}" dt="2022-08-30T11:30:28.709" v="79" actId="1076"/>
          <ac:graphicFrameMkLst>
            <pc:docMk/>
            <pc:sldMk cId="2710691589" sldId="365"/>
            <ac:graphicFrameMk id="4" creationId="{852C40F4-3A0C-2C57-5C1A-53EF072895F3}"/>
          </ac:graphicFrameMkLst>
        </pc:graphicFrameChg>
      </pc:sldChg>
    </pc:docChg>
  </pc:docChgLst>
  <pc:docChgLst>
    <pc:chgData name="Ewen Trafford" userId="e520b4bf-a196-48b7-bc10-b1590a457daa" providerId="ADAL" clId="{3C4CF6A5-F55C-474F-BE30-BAE216226C1F}"/>
    <pc:docChg chg="custSel addSld modSld">
      <pc:chgData name="Ewen Trafford" userId="e520b4bf-a196-48b7-bc10-b1590a457daa" providerId="ADAL" clId="{3C4CF6A5-F55C-474F-BE30-BAE216226C1F}" dt="2022-08-08T13:52:11.865" v="350" actId="20577"/>
      <pc:docMkLst>
        <pc:docMk/>
      </pc:docMkLst>
      <pc:sldChg chg="modSp mod">
        <pc:chgData name="Ewen Trafford" userId="e520b4bf-a196-48b7-bc10-b1590a457daa" providerId="ADAL" clId="{3C4CF6A5-F55C-474F-BE30-BAE216226C1F}" dt="2022-08-08T13:52:11.865" v="350" actId="20577"/>
        <pc:sldMkLst>
          <pc:docMk/>
          <pc:sldMk cId="3993973292" sldId="274"/>
        </pc:sldMkLst>
        <pc:spChg chg="mod">
          <ac:chgData name="Ewen Trafford" userId="e520b4bf-a196-48b7-bc10-b1590a457daa" providerId="ADAL" clId="{3C4CF6A5-F55C-474F-BE30-BAE216226C1F}" dt="2022-08-08T13:52:11.865" v="350" actId="20577"/>
          <ac:spMkLst>
            <pc:docMk/>
            <pc:sldMk cId="3993973292" sldId="274"/>
            <ac:spMk id="2" creationId="{00000000-0000-0000-0000-000000000000}"/>
          </ac:spMkLst>
        </pc:spChg>
      </pc:sldChg>
      <pc:sldChg chg="addSp modSp mod">
        <pc:chgData name="Ewen Trafford" userId="e520b4bf-a196-48b7-bc10-b1590a457daa" providerId="ADAL" clId="{3C4CF6A5-F55C-474F-BE30-BAE216226C1F}" dt="2022-08-08T13:17:45.428" v="295" actId="1076"/>
        <pc:sldMkLst>
          <pc:docMk/>
          <pc:sldMk cId="2831772784" sldId="320"/>
        </pc:sldMkLst>
        <pc:picChg chg="add mod">
          <ac:chgData name="Ewen Trafford" userId="e520b4bf-a196-48b7-bc10-b1590a457daa" providerId="ADAL" clId="{3C4CF6A5-F55C-474F-BE30-BAE216226C1F}" dt="2022-08-08T13:17:45.428" v="295" actId="1076"/>
          <ac:picMkLst>
            <pc:docMk/>
            <pc:sldMk cId="2831772784" sldId="320"/>
            <ac:picMk id="5" creationId="{BB9163DA-5B4C-6E73-971D-7ED0D7BF1006}"/>
          </ac:picMkLst>
        </pc:picChg>
      </pc:sldChg>
      <pc:sldChg chg="addSp modSp mod">
        <pc:chgData name="Ewen Trafford" userId="e520b4bf-a196-48b7-bc10-b1590a457daa" providerId="ADAL" clId="{3C4CF6A5-F55C-474F-BE30-BAE216226C1F}" dt="2022-08-08T13:19:04.108" v="309" actId="1076"/>
        <pc:sldMkLst>
          <pc:docMk/>
          <pc:sldMk cId="1195441026" sldId="321"/>
        </pc:sldMkLst>
        <pc:spChg chg="mod">
          <ac:chgData name="Ewen Trafford" userId="e520b4bf-a196-48b7-bc10-b1590a457daa" providerId="ADAL" clId="{3C4CF6A5-F55C-474F-BE30-BAE216226C1F}" dt="2022-08-08T13:14:11.868" v="291" actId="20577"/>
          <ac:spMkLst>
            <pc:docMk/>
            <pc:sldMk cId="1195441026" sldId="321"/>
            <ac:spMk id="2" creationId="{8C8F01D9-49FA-6C29-3674-01A422037CD5}"/>
          </ac:spMkLst>
        </pc:spChg>
        <pc:spChg chg="add mod">
          <ac:chgData name="Ewen Trafford" userId="e520b4bf-a196-48b7-bc10-b1590a457daa" providerId="ADAL" clId="{3C4CF6A5-F55C-474F-BE30-BAE216226C1F}" dt="2022-08-08T13:19:04.108" v="309" actId="1076"/>
          <ac:spMkLst>
            <pc:docMk/>
            <pc:sldMk cId="1195441026" sldId="321"/>
            <ac:spMk id="5" creationId="{F2E76F33-A801-BBB7-3AEE-9F865E4B391D}"/>
          </ac:spMkLst>
        </pc:spChg>
        <pc:picChg chg="mod">
          <ac:chgData name="Ewen Trafford" userId="e520b4bf-a196-48b7-bc10-b1590a457daa" providerId="ADAL" clId="{3C4CF6A5-F55C-474F-BE30-BAE216226C1F}" dt="2022-08-08T13:19:01.168" v="308" actId="1076"/>
          <ac:picMkLst>
            <pc:docMk/>
            <pc:sldMk cId="1195441026" sldId="321"/>
            <ac:picMk id="4" creationId="{E28EFFED-B566-4566-BB7A-487FC7AA9569}"/>
          </ac:picMkLst>
        </pc:picChg>
      </pc:sldChg>
      <pc:sldChg chg="modCm">
        <pc:chgData name="Ewen Trafford" userId="e520b4bf-a196-48b7-bc10-b1590a457daa" providerId="ADAL" clId="{3C4CF6A5-F55C-474F-BE30-BAE216226C1F}" dt="2022-08-08T13:11:47.862" v="0"/>
        <pc:sldMkLst>
          <pc:docMk/>
          <pc:sldMk cId="2939149858" sldId="322"/>
        </pc:sldMkLst>
      </pc:sldChg>
      <pc:sldChg chg="delSp modSp mod">
        <pc:chgData name="Ewen Trafford" userId="e520b4bf-a196-48b7-bc10-b1590a457daa" providerId="ADAL" clId="{3C4CF6A5-F55C-474F-BE30-BAE216226C1F}" dt="2022-08-08T13:20:32.841" v="346" actId="1076"/>
        <pc:sldMkLst>
          <pc:docMk/>
          <pc:sldMk cId="3594171061" sldId="331"/>
        </pc:sldMkLst>
        <pc:spChg chg="del">
          <ac:chgData name="Ewen Trafford" userId="e520b4bf-a196-48b7-bc10-b1590a457daa" providerId="ADAL" clId="{3C4CF6A5-F55C-474F-BE30-BAE216226C1F}" dt="2022-08-08T13:20:29.297" v="345" actId="478"/>
          <ac:spMkLst>
            <pc:docMk/>
            <pc:sldMk cId="3594171061" sldId="331"/>
            <ac:spMk id="3" creationId="{F125752D-9A62-EC8F-B592-EBFBCA644C0A}"/>
          </ac:spMkLst>
        </pc:spChg>
        <pc:graphicFrameChg chg="mod">
          <ac:chgData name="Ewen Trafford" userId="e520b4bf-a196-48b7-bc10-b1590a457daa" providerId="ADAL" clId="{3C4CF6A5-F55C-474F-BE30-BAE216226C1F}" dt="2022-08-08T13:20:32.841" v="346" actId="1076"/>
          <ac:graphicFrameMkLst>
            <pc:docMk/>
            <pc:sldMk cId="3594171061" sldId="331"/>
            <ac:graphicFrameMk id="4" creationId="{852C40F4-3A0C-2C57-5C1A-53EF072895F3}"/>
          </ac:graphicFrameMkLst>
        </pc:graphicFrameChg>
      </pc:sldChg>
      <pc:sldChg chg="modSp mod">
        <pc:chgData name="Ewen Trafford" userId="e520b4bf-a196-48b7-bc10-b1590a457daa" providerId="ADAL" clId="{3C4CF6A5-F55C-474F-BE30-BAE216226C1F}" dt="2022-08-08T13:14:05.776" v="288" actId="20577"/>
        <pc:sldMkLst>
          <pc:docMk/>
          <pc:sldMk cId="19998368" sldId="363"/>
        </pc:sldMkLst>
        <pc:spChg chg="mod">
          <ac:chgData name="Ewen Trafford" userId="e520b4bf-a196-48b7-bc10-b1590a457daa" providerId="ADAL" clId="{3C4CF6A5-F55C-474F-BE30-BAE216226C1F}" dt="2022-08-08T13:14:05.776" v="288" actId="20577"/>
          <ac:spMkLst>
            <pc:docMk/>
            <pc:sldMk cId="19998368" sldId="363"/>
            <ac:spMk id="3" creationId="{11F1639A-5BD0-7C4B-622B-50E9B9EA0EE0}"/>
          </ac:spMkLst>
        </pc:spChg>
      </pc:sldChg>
      <pc:sldChg chg="modSp add mod">
        <pc:chgData name="Ewen Trafford" userId="e520b4bf-a196-48b7-bc10-b1590a457daa" providerId="ADAL" clId="{3C4CF6A5-F55C-474F-BE30-BAE216226C1F}" dt="2022-08-08T13:20:03.890" v="343" actId="20577"/>
        <pc:sldMkLst>
          <pc:docMk/>
          <pc:sldMk cId="3019760330" sldId="364"/>
        </pc:sldMkLst>
        <pc:spChg chg="mod">
          <ac:chgData name="Ewen Trafford" userId="e520b4bf-a196-48b7-bc10-b1590a457daa" providerId="ADAL" clId="{3C4CF6A5-F55C-474F-BE30-BAE216226C1F}" dt="2022-08-08T13:19:55.290" v="341" actId="20577"/>
          <ac:spMkLst>
            <pc:docMk/>
            <pc:sldMk cId="3019760330" sldId="364"/>
            <ac:spMk id="2" creationId="{8C8F01D9-49FA-6C29-3674-01A422037CD5}"/>
          </ac:spMkLst>
        </pc:spChg>
        <pc:spChg chg="mod">
          <ac:chgData name="Ewen Trafford" userId="e520b4bf-a196-48b7-bc10-b1590a457daa" providerId="ADAL" clId="{3C4CF6A5-F55C-474F-BE30-BAE216226C1F}" dt="2022-08-08T13:20:03.890" v="343" actId="20577"/>
          <ac:spMkLst>
            <pc:docMk/>
            <pc:sldMk cId="3019760330" sldId="364"/>
            <ac:spMk id="3" creationId="{11F1639A-5BD0-7C4B-622B-50E9B9EA0EE0}"/>
          </ac:spMkLst>
        </pc:spChg>
      </pc:sldChg>
    </pc:docChg>
  </pc:docChgLst>
  <pc:docChgLst>
    <pc:chgData name="Ewen Trafford" userId="e520b4bf-a196-48b7-bc10-b1590a457daa" providerId="ADAL" clId="{40737E46-5C00-4D05-85D2-B2DFEF1BFC90}"/>
    <pc:docChg chg="undo custSel addSld delSld modSld sldOrd">
      <pc:chgData name="Ewen Trafford" userId="e520b4bf-a196-48b7-bc10-b1590a457daa" providerId="ADAL" clId="{40737E46-5C00-4D05-85D2-B2DFEF1BFC90}" dt="2022-08-30T10:39:30.654" v="4639" actId="404"/>
      <pc:docMkLst>
        <pc:docMk/>
      </pc:docMkLst>
      <pc:sldChg chg="modSp mod">
        <pc:chgData name="Ewen Trafford" userId="e520b4bf-a196-48b7-bc10-b1590a457daa" providerId="ADAL" clId="{40737E46-5C00-4D05-85D2-B2DFEF1BFC90}" dt="2022-08-24T13:00:36.708" v="4597" actId="20577"/>
        <pc:sldMkLst>
          <pc:docMk/>
          <pc:sldMk cId="2302005153" sldId="261"/>
        </pc:sldMkLst>
        <pc:spChg chg="mod">
          <ac:chgData name="Ewen Trafford" userId="e520b4bf-a196-48b7-bc10-b1590a457daa" providerId="ADAL" clId="{40737E46-5C00-4D05-85D2-B2DFEF1BFC90}" dt="2022-08-24T13:00:36.708" v="4597" actId="20577"/>
          <ac:spMkLst>
            <pc:docMk/>
            <pc:sldMk cId="2302005153" sldId="261"/>
            <ac:spMk id="3" creationId="{00000000-0000-0000-0000-000000000000}"/>
          </ac:spMkLst>
        </pc:spChg>
      </pc:sldChg>
      <pc:sldChg chg="modSp mod">
        <pc:chgData name="Ewen Trafford" userId="e520b4bf-a196-48b7-bc10-b1590a457daa" providerId="ADAL" clId="{40737E46-5C00-4D05-85D2-B2DFEF1BFC90}" dt="2022-08-10T06:54:19.563" v="818" actId="20577"/>
        <pc:sldMkLst>
          <pc:docMk/>
          <pc:sldMk cId="3993973292" sldId="274"/>
        </pc:sldMkLst>
        <pc:spChg chg="mod">
          <ac:chgData name="Ewen Trafford" userId="e520b4bf-a196-48b7-bc10-b1590a457daa" providerId="ADAL" clId="{40737E46-5C00-4D05-85D2-B2DFEF1BFC90}" dt="2022-08-10T06:54:19.563" v="818" actId="20577"/>
          <ac:spMkLst>
            <pc:docMk/>
            <pc:sldMk cId="3993973292" sldId="274"/>
            <ac:spMk id="6" creationId="{A705A842-B67A-1091-B43C-016955CEB56E}"/>
          </ac:spMkLst>
        </pc:spChg>
      </pc:sldChg>
      <pc:sldChg chg="modSp mod">
        <pc:chgData name="Ewen Trafford" userId="e520b4bf-a196-48b7-bc10-b1590a457daa" providerId="ADAL" clId="{40737E46-5C00-4D05-85D2-B2DFEF1BFC90}" dt="2022-08-10T06:49:55.798" v="12" actId="20577"/>
        <pc:sldMkLst>
          <pc:docMk/>
          <pc:sldMk cId="1195441026" sldId="321"/>
        </pc:sldMkLst>
        <pc:spChg chg="mod">
          <ac:chgData name="Ewen Trafford" userId="e520b4bf-a196-48b7-bc10-b1590a457daa" providerId="ADAL" clId="{40737E46-5C00-4D05-85D2-B2DFEF1BFC90}" dt="2022-08-10T06:49:55.798" v="12" actId="20577"/>
          <ac:spMkLst>
            <pc:docMk/>
            <pc:sldMk cId="1195441026" sldId="321"/>
            <ac:spMk id="3" creationId="{11F1639A-5BD0-7C4B-622B-50E9B9EA0EE0}"/>
          </ac:spMkLst>
        </pc:spChg>
      </pc:sldChg>
      <pc:sldChg chg="addSp delSp modSp mod delCm modCm">
        <pc:chgData name="Ewen Trafford" userId="e520b4bf-a196-48b7-bc10-b1590a457daa" providerId="ADAL" clId="{40737E46-5C00-4D05-85D2-B2DFEF1BFC90}" dt="2022-08-25T11:49:05.451" v="4624" actId="1582"/>
        <pc:sldMkLst>
          <pc:docMk/>
          <pc:sldMk cId="2939149858" sldId="322"/>
        </pc:sldMkLst>
        <pc:spChg chg="mod">
          <ac:chgData name="Ewen Trafford" userId="e520b4bf-a196-48b7-bc10-b1590a457daa" providerId="ADAL" clId="{40737E46-5C00-4D05-85D2-B2DFEF1BFC90}" dt="2022-08-10T07:32:34.521" v="2013" actId="20577"/>
          <ac:spMkLst>
            <pc:docMk/>
            <pc:sldMk cId="2939149858" sldId="322"/>
            <ac:spMk id="6" creationId="{37F21B2D-0E3B-42DC-85A8-4511EB39D461}"/>
          </ac:spMkLst>
        </pc:spChg>
        <pc:spChg chg="del">
          <ac:chgData name="Ewen Trafford" userId="e520b4bf-a196-48b7-bc10-b1590a457daa" providerId="ADAL" clId="{40737E46-5C00-4D05-85D2-B2DFEF1BFC90}" dt="2022-08-10T07:31:43.062" v="2006" actId="21"/>
          <ac:spMkLst>
            <pc:docMk/>
            <pc:sldMk cId="2939149858" sldId="322"/>
            <ac:spMk id="63" creationId="{CC9E04A9-37ED-4519-ACFC-7A87A4B6986A}"/>
          </ac:spMkLst>
        </pc:spChg>
        <pc:spChg chg="del">
          <ac:chgData name="Ewen Trafford" userId="e520b4bf-a196-48b7-bc10-b1590a457daa" providerId="ADAL" clId="{40737E46-5C00-4D05-85D2-B2DFEF1BFC90}" dt="2022-08-10T07:31:43.062" v="2006" actId="21"/>
          <ac:spMkLst>
            <pc:docMk/>
            <pc:sldMk cId="2939149858" sldId="322"/>
            <ac:spMk id="71" creationId="{68118319-9A0B-4C66-8534-6EEBCD4F1EB8}"/>
          </ac:spMkLst>
        </pc:spChg>
        <pc:spChg chg="del">
          <ac:chgData name="Ewen Trafford" userId="e520b4bf-a196-48b7-bc10-b1590a457daa" providerId="ADAL" clId="{40737E46-5C00-4D05-85D2-B2DFEF1BFC90}" dt="2022-08-10T07:31:43.062" v="2006" actId="21"/>
          <ac:spMkLst>
            <pc:docMk/>
            <pc:sldMk cId="2939149858" sldId="322"/>
            <ac:spMk id="88" creationId="{D7410CFE-6D4A-4526-B593-1F477DAD2AB1}"/>
          </ac:spMkLst>
        </pc:spChg>
        <pc:spChg chg="del">
          <ac:chgData name="Ewen Trafford" userId="e520b4bf-a196-48b7-bc10-b1590a457daa" providerId="ADAL" clId="{40737E46-5C00-4D05-85D2-B2DFEF1BFC90}" dt="2022-08-10T07:31:43.062" v="2006" actId="21"/>
          <ac:spMkLst>
            <pc:docMk/>
            <pc:sldMk cId="2939149858" sldId="322"/>
            <ac:spMk id="90" creationId="{6B2B75EE-3CDC-44AE-B9B7-1A9B2512E0E0}"/>
          </ac:spMkLst>
        </pc:spChg>
        <pc:spChg chg="del">
          <ac:chgData name="Ewen Trafford" userId="e520b4bf-a196-48b7-bc10-b1590a457daa" providerId="ADAL" clId="{40737E46-5C00-4D05-85D2-B2DFEF1BFC90}" dt="2022-08-10T07:31:43.062" v="2006" actId="21"/>
          <ac:spMkLst>
            <pc:docMk/>
            <pc:sldMk cId="2939149858" sldId="322"/>
            <ac:spMk id="96" creationId="{54433F2A-694D-4198-8789-8431E9D297FD}"/>
          </ac:spMkLst>
        </pc:spChg>
        <pc:spChg chg="del">
          <ac:chgData name="Ewen Trafford" userId="e520b4bf-a196-48b7-bc10-b1590a457daa" providerId="ADAL" clId="{40737E46-5C00-4D05-85D2-B2DFEF1BFC90}" dt="2022-08-10T07:31:43.062" v="2006" actId="21"/>
          <ac:spMkLst>
            <pc:docMk/>
            <pc:sldMk cId="2939149858" sldId="322"/>
            <ac:spMk id="101" creationId="{6B55FCB3-52F2-4AD2-8B71-C6B166EF11C7}"/>
          </ac:spMkLst>
        </pc:spChg>
        <pc:spChg chg="del">
          <ac:chgData name="Ewen Trafford" userId="e520b4bf-a196-48b7-bc10-b1590a457daa" providerId="ADAL" clId="{40737E46-5C00-4D05-85D2-B2DFEF1BFC90}" dt="2022-08-10T07:31:43.062" v="2006" actId="21"/>
          <ac:spMkLst>
            <pc:docMk/>
            <pc:sldMk cId="2939149858" sldId="322"/>
            <ac:spMk id="102" creationId="{C61BE2DF-EB39-4F1F-81D4-EDD0F2680389}"/>
          </ac:spMkLst>
        </pc:spChg>
        <pc:spChg chg="del">
          <ac:chgData name="Ewen Trafford" userId="e520b4bf-a196-48b7-bc10-b1590a457daa" providerId="ADAL" clId="{40737E46-5C00-4D05-85D2-B2DFEF1BFC90}" dt="2022-08-10T07:31:43.062" v="2006" actId="21"/>
          <ac:spMkLst>
            <pc:docMk/>
            <pc:sldMk cId="2939149858" sldId="322"/>
            <ac:spMk id="104" creationId="{D9C62645-0C5A-4202-AD0E-C638FCD0F10B}"/>
          </ac:spMkLst>
        </pc:spChg>
        <pc:spChg chg="del">
          <ac:chgData name="Ewen Trafford" userId="e520b4bf-a196-48b7-bc10-b1590a457daa" providerId="ADAL" clId="{40737E46-5C00-4D05-85D2-B2DFEF1BFC90}" dt="2022-08-10T07:31:43.062" v="2006" actId="21"/>
          <ac:spMkLst>
            <pc:docMk/>
            <pc:sldMk cId="2939149858" sldId="322"/>
            <ac:spMk id="105" creationId="{9012A4A9-5D2A-4D4D-91EE-F0B1B67E57C5}"/>
          </ac:spMkLst>
        </pc:spChg>
        <pc:spChg chg="del">
          <ac:chgData name="Ewen Trafford" userId="e520b4bf-a196-48b7-bc10-b1590a457daa" providerId="ADAL" clId="{40737E46-5C00-4D05-85D2-B2DFEF1BFC90}" dt="2022-08-10T07:31:43.062" v="2006" actId="21"/>
          <ac:spMkLst>
            <pc:docMk/>
            <pc:sldMk cId="2939149858" sldId="322"/>
            <ac:spMk id="106" creationId="{BD97CE34-7FC9-4B03-95CA-AFE006D6249D}"/>
          </ac:spMkLst>
        </pc:spChg>
        <pc:spChg chg="del">
          <ac:chgData name="Ewen Trafford" userId="e520b4bf-a196-48b7-bc10-b1590a457daa" providerId="ADAL" clId="{40737E46-5C00-4D05-85D2-B2DFEF1BFC90}" dt="2022-08-10T07:31:43.062" v="2006" actId="21"/>
          <ac:spMkLst>
            <pc:docMk/>
            <pc:sldMk cId="2939149858" sldId="322"/>
            <ac:spMk id="107" creationId="{D2B6FFB5-822C-47AA-A7DF-5785C59EDC65}"/>
          </ac:spMkLst>
        </pc:spChg>
        <pc:spChg chg="del">
          <ac:chgData name="Ewen Trafford" userId="e520b4bf-a196-48b7-bc10-b1590a457daa" providerId="ADAL" clId="{40737E46-5C00-4D05-85D2-B2DFEF1BFC90}" dt="2022-08-10T07:31:43.062" v="2006" actId="21"/>
          <ac:spMkLst>
            <pc:docMk/>
            <pc:sldMk cId="2939149858" sldId="322"/>
            <ac:spMk id="108" creationId="{41639989-7C9C-4536-A168-DFC751E35B11}"/>
          </ac:spMkLst>
        </pc:spChg>
        <pc:spChg chg="del">
          <ac:chgData name="Ewen Trafford" userId="e520b4bf-a196-48b7-bc10-b1590a457daa" providerId="ADAL" clId="{40737E46-5C00-4D05-85D2-B2DFEF1BFC90}" dt="2022-08-10T07:31:43.062" v="2006" actId="21"/>
          <ac:spMkLst>
            <pc:docMk/>
            <pc:sldMk cId="2939149858" sldId="322"/>
            <ac:spMk id="109" creationId="{CC7706B3-299A-4F6F-985F-ECF2BF3FDECF}"/>
          </ac:spMkLst>
        </pc:spChg>
        <pc:spChg chg="del">
          <ac:chgData name="Ewen Trafford" userId="e520b4bf-a196-48b7-bc10-b1590a457daa" providerId="ADAL" clId="{40737E46-5C00-4D05-85D2-B2DFEF1BFC90}" dt="2022-08-10T07:31:43.062" v="2006" actId="21"/>
          <ac:spMkLst>
            <pc:docMk/>
            <pc:sldMk cId="2939149858" sldId="322"/>
            <ac:spMk id="110" creationId="{14AEF3C6-3F6E-41DF-A28F-1F6BA824F455}"/>
          </ac:spMkLst>
        </pc:spChg>
        <pc:spChg chg="del">
          <ac:chgData name="Ewen Trafford" userId="e520b4bf-a196-48b7-bc10-b1590a457daa" providerId="ADAL" clId="{40737E46-5C00-4D05-85D2-B2DFEF1BFC90}" dt="2022-08-10T07:31:43.062" v="2006" actId="21"/>
          <ac:spMkLst>
            <pc:docMk/>
            <pc:sldMk cId="2939149858" sldId="322"/>
            <ac:spMk id="111" creationId="{24F62B92-D048-4153-8F7B-4AB785C0BCB3}"/>
          </ac:spMkLst>
        </pc:spChg>
        <pc:spChg chg="del">
          <ac:chgData name="Ewen Trafford" userId="e520b4bf-a196-48b7-bc10-b1590a457daa" providerId="ADAL" clId="{40737E46-5C00-4D05-85D2-B2DFEF1BFC90}" dt="2022-08-10T07:31:43.062" v="2006" actId="21"/>
          <ac:spMkLst>
            <pc:docMk/>
            <pc:sldMk cId="2939149858" sldId="322"/>
            <ac:spMk id="112" creationId="{B02657C6-AA5B-4A06-8186-F39327461A23}"/>
          </ac:spMkLst>
        </pc:spChg>
        <pc:grpChg chg="del">
          <ac:chgData name="Ewen Trafford" userId="e520b4bf-a196-48b7-bc10-b1590a457daa" providerId="ADAL" clId="{40737E46-5C00-4D05-85D2-B2DFEF1BFC90}" dt="2022-08-10T07:31:43.062" v="2006" actId="21"/>
          <ac:grpSpMkLst>
            <pc:docMk/>
            <pc:sldMk cId="2939149858" sldId="322"/>
            <ac:grpSpMk id="47" creationId="{82EE047B-EC22-4303-AF4E-6DFA607EBDE3}"/>
          </ac:grpSpMkLst>
        </pc:grpChg>
        <pc:grpChg chg="del">
          <ac:chgData name="Ewen Trafford" userId="e520b4bf-a196-48b7-bc10-b1590a457daa" providerId="ADAL" clId="{40737E46-5C00-4D05-85D2-B2DFEF1BFC90}" dt="2022-08-10T07:31:43.062" v="2006" actId="21"/>
          <ac:grpSpMkLst>
            <pc:docMk/>
            <pc:sldMk cId="2939149858" sldId="322"/>
            <ac:grpSpMk id="48" creationId="{2F7F192E-FA80-4C3C-ABED-0A10988E2D19}"/>
          </ac:grpSpMkLst>
        </pc:grpChg>
        <pc:grpChg chg="del">
          <ac:chgData name="Ewen Trafford" userId="e520b4bf-a196-48b7-bc10-b1590a457daa" providerId="ADAL" clId="{40737E46-5C00-4D05-85D2-B2DFEF1BFC90}" dt="2022-08-10T07:31:43.062" v="2006" actId="21"/>
          <ac:grpSpMkLst>
            <pc:docMk/>
            <pc:sldMk cId="2939149858" sldId="322"/>
            <ac:grpSpMk id="73" creationId="{6D460FDE-2493-4CD2-AF0D-CD2C07FAB1D7}"/>
          </ac:grpSpMkLst>
        </pc:grpChg>
        <pc:picChg chg="add mod">
          <ac:chgData name="Ewen Trafford" userId="e520b4bf-a196-48b7-bc10-b1590a457daa" providerId="ADAL" clId="{40737E46-5C00-4D05-85D2-B2DFEF1BFC90}" dt="2022-08-25T11:49:05.451" v="4624" actId="1582"/>
          <ac:picMkLst>
            <pc:docMk/>
            <pc:sldMk cId="2939149858" sldId="322"/>
            <ac:picMk id="5" creationId="{E08D3773-5478-7B6F-6A93-263511318713}"/>
          </ac:picMkLst>
        </pc:picChg>
        <pc:cxnChg chg="del">
          <ac:chgData name="Ewen Trafford" userId="e520b4bf-a196-48b7-bc10-b1590a457daa" providerId="ADAL" clId="{40737E46-5C00-4D05-85D2-B2DFEF1BFC90}" dt="2022-08-10T07:31:43.062" v="2006" actId="21"/>
          <ac:cxnSpMkLst>
            <pc:docMk/>
            <pc:sldMk cId="2939149858" sldId="322"/>
            <ac:cxnSpMk id="64" creationId="{6383DCB1-8D6D-4786-96F7-B439942B6029}"/>
          </ac:cxnSpMkLst>
        </pc:cxnChg>
        <pc:cxnChg chg="del">
          <ac:chgData name="Ewen Trafford" userId="e520b4bf-a196-48b7-bc10-b1590a457daa" providerId="ADAL" clId="{40737E46-5C00-4D05-85D2-B2DFEF1BFC90}" dt="2022-08-10T07:31:43.062" v="2006" actId="21"/>
          <ac:cxnSpMkLst>
            <pc:docMk/>
            <pc:sldMk cId="2939149858" sldId="322"/>
            <ac:cxnSpMk id="89" creationId="{5CF4E1AA-9EAD-4B53-8D37-48C11E9B7B1C}"/>
          </ac:cxnSpMkLst>
        </pc:cxnChg>
        <pc:cxnChg chg="del">
          <ac:chgData name="Ewen Trafford" userId="e520b4bf-a196-48b7-bc10-b1590a457daa" providerId="ADAL" clId="{40737E46-5C00-4D05-85D2-B2DFEF1BFC90}" dt="2022-08-10T07:31:43.062" v="2006" actId="21"/>
          <ac:cxnSpMkLst>
            <pc:docMk/>
            <pc:sldMk cId="2939149858" sldId="322"/>
            <ac:cxnSpMk id="91" creationId="{6F499A5B-8067-4BC3-88B7-AD804D33E813}"/>
          </ac:cxnSpMkLst>
        </pc:cxnChg>
        <pc:cxnChg chg="del">
          <ac:chgData name="Ewen Trafford" userId="e520b4bf-a196-48b7-bc10-b1590a457daa" providerId="ADAL" clId="{40737E46-5C00-4D05-85D2-B2DFEF1BFC90}" dt="2022-08-10T07:31:43.062" v="2006" actId="21"/>
          <ac:cxnSpMkLst>
            <pc:docMk/>
            <pc:sldMk cId="2939149858" sldId="322"/>
            <ac:cxnSpMk id="95" creationId="{F917D6B2-2493-4BB4-B2B6-C1F479362986}"/>
          </ac:cxnSpMkLst>
        </pc:cxnChg>
        <pc:cxnChg chg="del">
          <ac:chgData name="Ewen Trafford" userId="e520b4bf-a196-48b7-bc10-b1590a457daa" providerId="ADAL" clId="{40737E46-5C00-4D05-85D2-B2DFEF1BFC90}" dt="2022-08-10T07:31:43.062" v="2006" actId="21"/>
          <ac:cxnSpMkLst>
            <pc:docMk/>
            <pc:sldMk cId="2939149858" sldId="322"/>
            <ac:cxnSpMk id="99" creationId="{98267B8D-A986-481C-8FA0-7F51EA21F0A2}"/>
          </ac:cxnSpMkLst>
        </pc:cxnChg>
        <pc:cxnChg chg="del">
          <ac:chgData name="Ewen Trafford" userId="e520b4bf-a196-48b7-bc10-b1590a457daa" providerId="ADAL" clId="{40737E46-5C00-4D05-85D2-B2DFEF1BFC90}" dt="2022-08-10T07:31:43.062" v="2006" actId="21"/>
          <ac:cxnSpMkLst>
            <pc:docMk/>
            <pc:sldMk cId="2939149858" sldId="322"/>
            <ac:cxnSpMk id="100" creationId="{33F2847F-FB4B-4C23-ABF3-134B1B6C31CD}"/>
          </ac:cxnSpMkLst>
        </pc:cxnChg>
      </pc:sldChg>
      <pc:sldChg chg="modSp mod">
        <pc:chgData name="Ewen Trafford" userId="e520b4bf-a196-48b7-bc10-b1590a457daa" providerId="ADAL" clId="{40737E46-5C00-4D05-85D2-B2DFEF1BFC90}" dt="2022-08-30T10:35:05.375" v="4632" actId="404"/>
        <pc:sldMkLst>
          <pc:docMk/>
          <pc:sldMk cId="3594171061" sldId="331"/>
        </pc:sldMkLst>
        <pc:graphicFrameChg chg="mod modGraphic">
          <ac:chgData name="Ewen Trafford" userId="e520b4bf-a196-48b7-bc10-b1590a457daa" providerId="ADAL" clId="{40737E46-5C00-4D05-85D2-B2DFEF1BFC90}" dt="2022-08-30T10:35:05.375" v="4632" actId="404"/>
          <ac:graphicFrameMkLst>
            <pc:docMk/>
            <pc:sldMk cId="3594171061" sldId="331"/>
            <ac:graphicFrameMk id="4" creationId="{852C40F4-3A0C-2C57-5C1A-53EF072895F3}"/>
          </ac:graphicFrameMkLst>
        </pc:graphicFrameChg>
      </pc:sldChg>
      <pc:sldChg chg="addSp delSp modSp mod ord">
        <pc:chgData name="Ewen Trafford" userId="e520b4bf-a196-48b7-bc10-b1590a457daa" providerId="ADAL" clId="{40737E46-5C00-4D05-85D2-B2DFEF1BFC90}" dt="2022-08-10T11:07:40.968" v="4468" actId="167"/>
        <pc:sldMkLst>
          <pc:docMk/>
          <pc:sldMk cId="2046763801" sldId="338"/>
        </pc:sldMkLst>
        <pc:spChg chg="mod">
          <ac:chgData name="Ewen Trafford" userId="e520b4bf-a196-48b7-bc10-b1590a457daa" providerId="ADAL" clId="{40737E46-5C00-4D05-85D2-B2DFEF1BFC90}" dt="2022-08-10T10:14:12.824" v="2763" actId="1076"/>
          <ac:spMkLst>
            <pc:docMk/>
            <pc:sldMk cId="2046763801" sldId="338"/>
            <ac:spMk id="2" creationId="{CB2517A4-E10A-E444-1061-434E356416A6}"/>
          </ac:spMkLst>
        </pc:spChg>
        <pc:spChg chg="del">
          <ac:chgData name="Ewen Trafford" userId="e520b4bf-a196-48b7-bc10-b1590a457daa" providerId="ADAL" clId="{40737E46-5C00-4D05-85D2-B2DFEF1BFC90}" dt="2022-08-10T07:31:49.522" v="2008" actId="478"/>
          <ac:spMkLst>
            <pc:docMk/>
            <pc:sldMk cId="2046763801" sldId="338"/>
            <ac:spMk id="3" creationId="{CDC99BCA-D4B3-5B9E-85FC-708932B92CBD}"/>
          </ac:spMkLst>
        </pc:spChg>
        <pc:spChg chg="add mod">
          <ac:chgData name="Ewen Trafford" userId="e520b4bf-a196-48b7-bc10-b1590a457daa" providerId="ADAL" clId="{40737E46-5C00-4D05-85D2-B2DFEF1BFC90}" dt="2022-08-10T10:32:16.290" v="3254" actId="1076"/>
          <ac:spMkLst>
            <pc:docMk/>
            <pc:sldMk cId="2046763801" sldId="338"/>
            <ac:spMk id="4" creationId="{E5F102ED-6054-028A-E7FE-819444A2694D}"/>
          </ac:spMkLst>
        </pc:spChg>
        <pc:spChg chg="mod">
          <ac:chgData name="Ewen Trafford" userId="e520b4bf-a196-48b7-bc10-b1590a457daa" providerId="ADAL" clId="{40737E46-5C00-4D05-85D2-B2DFEF1BFC90}" dt="2022-08-10T07:31:47.028" v="2007"/>
          <ac:spMkLst>
            <pc:docMk/>
            <pc:sldMk cId="2046763801" sldId="338"/>
            <ac:spMk id="7" creationId="{DDFF6650-1890-6186-7433-BB68DF614ACB}"/>
          </ac:spMkLst>
        </pc:spChg>
        <pc:spChg chg="mod">
          <ac:chgData name="Ewen Trafford" userId="e520b4bf-a196-48b7-bc10-b1590a457daa" providerId="ADAL" clId="{40737E46-5C00-4D05-85D2-B2DFEF1BFC90}" dt="2022-08-10T07:31:47.028" v="2007"/>
          <ac:spMkLst>
            <pc:docMk/>
            <pc:sldMk cId="2046763801" sldId="338"/>
            <ac:spMk id="9" creationId="{35D2C863-4A62-F13F-E937-CF2C021DB3AE}"/>
          </ac:spMkLst>
        </pc:spChg>
        <pc:spChg chg="mod">
          <ac:chgData name="Ewen Trafford" userId="e520b4bf-a196-48b7-bc10-b1590a457daa" providerId="ADAL" clId="{40737E46-5C00-4D05-85D2-B2DFEF1BFC90}" dt="2022-08-10T07:31:47.028" v="2007"/>
          <ac:spMkLst>
            <pc:docMk/>
            <pc:sldMk cId="2046763801" sldId="338"/>
            <ac:spMk id="10" creationId="{A3AE4500-71F9-0DF7-CE83-9B35EA676B06}"/>
          </ac:spMkLst>
        </pc:spChg>
        <pc:spChg chg="mod">
          <ac:chgData name="Ewen Trafford" userId="e520b4bf-a196-48b7-bc10-b1590a457daa" providerId="ADAL" clId="{40737E46-5C00-4D05-85D2-B2DFEF1BFC90}" dt="2022-08-10T07:31:47.028" v="2007"/>
          <ac:spMkLst>
            <pc:docMk/>
            <pc:sldMk cId="2046763801" sldId="338"/>
            <ac:spMk id="11" creationId="{882F8B59-6F18-4F56-1C02-381F76AEAF49}"/>
          </ac:spMkLst>
        </pc:spChg>
        <pc:spChg chg="mod">
          <ac:chgData name="Ewen Trafford" userId="e520b4bf-a196-48b7-bc10-b1590a457daa" providerId="ADAL" clId="{40737E46-5C00-4D05-85D2-B2DFEF1BFC90}" dt="2022-08-10T07:31:47.028" v="2007"/>
          <ac:spMkLst>
            <pc:docMk/>
            <pc:sldMk cId="2046763801" sldId="338"/>
            <ac:spMk id="12" creationId="{58212594-7F2A-5128-3419-A093771E5C32}"/>
          </ac:spMkLst>
        </pc:spChg>
        <pc:spChg chg="mod">
          <ac:chgData name="Ewen Trafford" userId="e520b4bf-a196-48b7-bc10-b1590a457daa" providerId="ADAL" clId="{40737E46-5C00-4D05-85D2-B2DFEF1BFC90}" dt="2022-08-10T07:31:47.028" v="2007"/>
          <ac:spMkLst>
            <pc:docMk/>
            <pc:sldMk cId="2046763801" sldId="338"/>
            <ac:spMk id="18" creationId="{983B7B6F-6FCE-04E9-943B-25EC104232B1}"/>
          </ac:spMkLst>
        </pc:spChg>
        <pc:spChg chg="mod">
          <ac:chgData name="Ewen Trafford" userId="e520b4bf-a196-48b7-bc10-b1590a457daa" providerId="ADAL" clId="{40737E46-5C00-4D05-85D2-B2DFEF1BFC90}" dt="2022-08-10T07:31:47.028" v="2007"/>
          <ac:spMkLst>
            <pc:docMk/>
            <pc:sldMk cId="2046763801" sldId="338"/>
            <ac:spMk id="21" creationId="{A3C8C2C8-DEEF-D277-4403-7682B1FD0CB7}"/>
          </ac:spMkLst>
        </pc:spChg>
        <pc:spChg chg="mod">
          <ac:chgData name="Ewen Trafford" userId="e520b4bf-a196-48b7-bc10-b1590a457daa" providerId="ADAL" clId="{40737E46-5C00-4D05-85D2-B2DFEF1BFC90}" dt="2022-08-10T07:31:47.028" v="2007"/>
          <ac:spMkLst>
            <pc:docMk/>
            <pc:sldMk cId="2046763801" sldId="338"/>
            <ac:spMk id="23" creationId="{76A952C9-4AD8-CF1C-4BDA-FA43F2687A42}"/>
          </ac:spMkLst>
        </pc:spChg>
        <pc:spChg chg="mod">
          <ac:chgData name="Ewen Trafford" userId="e520b4bf-a196-48b7-bc10-b1590a457daa" providerId="ADAL" clId="{40737E46-5C00-4D05-85D2-B2DFEF1BFC90}" dt="2022-08-10T07:31:47.028" v="2007"/>
          <ac:spMkLst>
            <pc:docMk/>
            <pc:sldMk cId="2046763801" sldId="338"/>
            <ac:spMk id="24" creationId="{B0C29B3A-167B-ED05-7626-50B08D24ECE3}"/>
          </ac:spMkLst>
        </pc:spChg>
        <pc:spChg chg="mod">
          <ac:chgData name="Ewen Trafford" userId="e520b4bf-a196-48b7-bc10-b1590a457daa" providerId="ADAL" clId="{40737E46-5C00-4D05-85D2-B2DFEF1BFC90}" dt="2022-08-10T07:31:47.028" v="2007"/>
          <ac:spMkLst>
            <pc:docMk/>
            <pc:sldMk cId="2046763801" sldId="338"/>
            <ac:spMk id="25" creationId="{2C557066-2AFE-1276-6D7B-1020F52135D6}"/>
          </ac:spMkLst>
        </pc:spChg>
        <pc:spChg chg="mod">
          <ac:chgData name="Ewen Trafford" userId="e520b4bf-a196-48b7-bc10-b1590a457daa" providerId="ADAL" clId="{40737E46-5C00-4D05-85D2-B2DFEF1BFC90}" dt="2022-08-10T07:31:47.028" v="2007"/>
          <ac:spMkLst>
            <pc:docMk/>
            <pc:sldMk cId="2046763801" sldId="338"/>
            <ac:spMk id="26" creationId="{C0F2A5F7-1768-D58A-2EA7-54FB38CDD35A}"/>
          </ac:spMkLst>
        </pc:spChg>
        <pc:spChg chg="mod">
          <ac:chgData name="Ewen Trafford" userId="e520b4bf-a196-48b7-bc10-b1590a457daa" providerId="ADAL" clId="{40737E46-5C00-4D05-85D2-B2DFEF1BFC90}" dt="2022-08-10T07:31:47.028" v="2007"/>
          <ac:spMkLst>
            <pc:docMk/>
            <pc:sldMk cId="2046763801" sldId="338"/>
            <ac:spMk id="32" creationId="{BE61150C-6F65-8533-DD31-79103668E208}"/>
          </ac:spMkLst>
        </pc:spChg>
        <pc:spChg chg="add mod">
          <ac:chgData name="Ewen Trafford" userId="e520b4bf-a196-48b7-bc10-b1590a457daa" providerId="ADAL" clId="{40737E46-5C00-4D05-85D2-B2DFEF1BFC90}" dt="2022-08-10T10:32:16.290" v="3254" actId="1076"/>
          <ac:spMkLst>
            <pc:docMk/>
            <pc:sldMk cId="2046763801" sldId="338"/>
            <ac:spMk id="33" creationId="{FB9154DA-F730-A38C-271A-81335820D7E7}"/>
          </ac:spMkLst>
        </pc:spChg>
        <pc:spChg chg="add mod">
          <ac:chgData name="Ewen Trafford" userId="e520b4bf-a196-48b7-bc10-b1590a457daa" providerId="ADAL" clId="{40737E46-5C00-4D05-85D2-B2DFEF1BFC90}" dt="2022-08-10T10:32:16.290" v="3254" actId="1076"/>
          <ac:spMkLst>
            <pc:docMk/>
            <pc:sldMk cId="2046763801" sldId="338"/>
            <ac:spMk id="35" creationId="{C00DA423-8DB6-37FE-3DF0-38C335F36636}"/>
          </ac:spMkLst>
        </pc:spChg>
        <pc:spChg chg="mod">
          <ac:chgData name="Ewen Trafford" userId="e520b4bf-a196-48b7-bc10-b1590a457daa" providerId="ADAL" clId="{40737E46-5C00-4D05-85D2-B2DFEF1BFC90}" dt="2022-08-10T07:31:47.028" v="2007"/>
          <ac:spMkLst>
            <pc:docMk/>
            <pc:sldMk cId="2046763801" sldId="338"/>
            <ac:spMk id="38" creationId="{C83BA620-F96C-AE2C-D565-4498AC23663A}"/>
          </ac:spMkLst>
        </pc:spChg>
        <pc:spChg chg="mod">
          <ac:chgData name="Ewen Trafford" userId="e520b4bf-a196-48b7-bc10-b1590a457daa" providerId="ADAL" clId="{40737E46-5C00-4D05-85D2-B2DFEF1BFC90}" dt="2022-08-10T07:31:47.028" v="2007"/>
          <ac:spMkLst>
            <pc:docMk/>
            <pc:sldMk cId="2046763801" sldId="338"/>
            <ac:spMk id="40" creationId="{35D84EF4-B650-3658-902C-476DD5E27342}"/>
          </ac:spMkLst>
        </pc:spChg>
        <pc:spChg chg="mod">
          <ac:chgData name="Ewen Trafford" userId="e520b4bf-a196-48b7-bc10-b1590a457daa" providerId="ADAL" clId="{40737E46-5C00-4D05-85D2-B2DFEF1BFC90}" dt="2022-08-10T07:31:47.028" v="2007"/>
          <ac:spMkLst>
            <pc:docMk/>
            <pc:sldMk cId="2046763801" sldId="338"/>
            <ac:spMk id="41" creationId="{2FABA0BC-963B-8930-6FFB-DD9B41BD787C}"/>
          </ac:spMkLst>
        </pc:spChg>
        <pc:spChg chg="mod">
          <ac:chgData name="Ewen Trafford" userId="e520b4bf-a196-48b7-bc10-b1590a457daa" providerId="ADAL" clId="{40737E46-5C00-4D05-85D2-B2DFEF1BFC90}" dt="2022-08-10T07:31:47.028" v="2007"/>
          <ac:spMkLst>
            <pc:docMk/>
            <pc:sldMk cId="2046763801" sldId="338"/>
            <ac:spMk id="42" creationId="{2767D931-6AD9-4C18-A11D-3DA4680019B9}"/>
          </ac:spMkLst>
        </pc:spChg>
        <pc:spChg chg="mod">
          <ac:chgData name="Ewen Trafford" userId="e520b4bf-a196-48b7-bc10-b1590a457daa" providerId="ADAL" clId="{40737E46-5C00-4D05-85D2-B2DFEF1BFC90}" dt="2022-08-10T07:31:47.028" v="2007"/>
          <ac:spMkLst>
            <pc:docMk/>
            <pc:sldMk cId="2046763801" sldId="338"/>
            <ac:spMk id="43" creationId="{5716A3DB-1BF1-4BD0-4CF9-362E67A55F8B}"/>
          </ac:spMkLst>
        </pc:spChg>
        <pc:spChg chg="mod">
          <ac:chgData name="Ewen Trafford" userId="e520b4bf-a196-48b7-bc10-b1590a457daa" providerId="ADAL" clId="{40737E46-5C00-4D05-85D2-B2DFEF1BFC90}" dt="2022-08-10T07:31:47.028" v="2007"/>
          <ac:spMkLst>
            <pc:docMk/>
            <pc:sldMk cId="2046763801" sldId="338"/>
            <ac:spMk id="44" creationId="{4B92C792-4BC9-706C-EFEE-B56E9A716BDF}"/>
          </ac:spMkLst>
        </pc:spChg>
        <pc:spChg chg="mod">
          <ac:chgData name="Ewen Trafford" userId="e520b4bf-a196-48b7-bc10-b1590a457daa" providerId="ADAL" clId="{40737E46-5C00-4D05-85D2-B2DFEF1BFC90}" dt="2022-08-10T07:31:47.028" v="2007"/>
          <ac:spMkLst>
            <pc:docMk/>
            <pc:sldMk cId="2046763801" sldId="338"/>
            <ac:spMk id="50" creationId="{744487B8-2B2E-C56E-FE1E-61A2231BEDDD}"/>
          </ac:spMkLst>
        </pc:spChg>
        <pc:spChg chg="add mod">
          <ac:chgData name="Ewen Trafford" userId="e520b4bf-a196-48b7-bc10-b1590a457daa" providerId="ADAL" clId="{40737E46-5C00-4D05-85D2-B2DFEF1BFC90}" dt="2022-08-10T10:32:20.644" v="3255" actId="1076"/>
          <ac:spMkLst>
            <pc:docMk/>
            <pc:sldMk cId="2046763801" sldId="338"/>
            <ac:spMk id="51" creationId="{84D71BD3-DF38-FD1D-796D-4A6B2D46CADC}"/>
          </ac:spMkLst>
        </pc:spChg>
        <pc:spChg chg="add mod">
          <ac:chgData name="Ewen Trafford" userId="e520b4bf-a196-48b7-bc10-b1590a457daa" providerId="ADAL" clId="{40737E46-5C00-4D05-85D2-B2DFEF1BFC90}" dt="2022-08-10T10:32:20.644" v="3255" actId="1076"/>
          <ac:spMkLst>
            <pc:docMk/>
            <pc:sldMk cId="2046763801" sldId="338"/>
            <ac:spMk id="53" creationId="{D9F7CB5D-E741-19ED-7D87-36711593AB25}"/>
          </ac:spMkLst>
        </pc:spChg>
        <pc:spChg chg="add mod">
          <ac:chgData name="Ewen Trafford" userId="e520b4bf-a196-48b7-bc10-b1590a457daa" providerId="ADAL" clId="{40737E46-5C00-4D05-85D2-B2DFEF1BFC90}" dt="2022-08-10T10:32:20.644" v="3255" actId="1076"/>
          <ac:spMkLst>
            <pc:docMk/>
            <pc:sldMk cId="2046763801" sldId="338"/>
            <ac:spMk id="56" creationId="{AFD89C74-5C59-C2BF-30AD-FFB0A49F4D67}"/>
          </ac:spMkLst>
        </pc:spChg>
        <pc:spChg chg="add mod">
          <ac:chgData name="Ewen Trafford" userId="e520b4bf-a196-48b7-bc10-b1590a457daa" providerId="ADAL" clId="{40737E46-5C00-4D05-85D2-B2DFEF1BFC90}" dt="2022-08-10T10:32:20.644" v="3255" actId="1076"/>
          <ac:spMkLst>
            <pc:docMk/>
            <pc:sldMk cId="2046763801" sldId="338"/>
            <ac:spMk id="59" creationId="{E388076F-2068-A9B0-116A-6A5CA6584BFD}"/>
          </ac:spMkLst>
        </pc:spChg>
        <pc:spChg chg="add mod">
          <ac:chgData name="Ewen Trafford" userId="e520b4bf-a196-48b7-bc10-b1590a457daa" providerId="ADAL" clId="{40737E46-5C00-4D05-85D2-B2DFEF1BFC90}" dt="2022-08-10T10:32:20.644" v="3255" actId="1076"/>
          <ac:spMkLst>
            <pc:docMk/>
            <pc:sldMk cId="2046763801" sldId="338"/>
            <ac:spMk id="60" creationId="{34C551B0-8299-56CB-8B7E-A2C089EE6E67}"/>
          </ac:spMkLst>
        </pc:spChg>
        <pc:spChg chg="add mod">
          <ac:chgData name="Ewen Trafford" userId="e520b4bf-a196-48b7-bc10-b1590a457daa" providerId="ADAL" clId="{40737E46-5C00-4D05-85D2-B2DFEF1BFC90}" dt="2022-08-10T10:32:20.644" v="3255" actId="1076"/>
          <ac:spMkLst>
            <pc:docMk/>
            <pc:sldMk cId="2046763801" sldId="338"/>
            <ac:spMk id="61" creationId="{97CDE7CC-3EFE-6777-FB5F-3AB68EB86058}"/>
          </ac:spMkLst>
        </pc:spChg>
        <pc:spChg chg="add mod">
          <ac:chgData name="Ewen Trafford" userId="e520b4bf-a196-48b7-bc10-b1590a457daa" providerId="ADAL" clId="{40737E46-5C00-4D05-85D2-B2DFEF1BFC90}" dt="2022-08-10T10:32:20.644" v="3255" actId="1076"/>
          <ac:spMkLst>
            <pc:docMk/>
            <pc:sldMk cId="2046763801" sldId="338"/>
            <ac:spMk id="62" creationId="{EBB34DB3-1F85-EF42-DE3B-98A72B444453}"/>
          </ac:spMkLst>
        </pc:spChg>
        <pc:spChg chg="add mod">
          <ac:chgData name="Ewen Trafford" userId="e520b4bf-a196-48b7-bc10-b1590a457daa" providerId="ADAL" clId="{40737E46-5C00-4D05-85D2-B2DFEF1BFC90}" dt="2022-08-10T10:32:16.290" v="3254" actId="1076"/>
          <ac:spMkLst>
            <pc:docMk/>
            <pc:sldMk cId="2046763801" sldId="338"/>
            <ac:spMk id="63" creationId="{D88D65B5-C3EF-1D45-4182-A9F690E882C4}"/>
          </ac:spMkLst>
        </pc:spChg>
        <pc:spChg chg="add mod">
          <ac:chgData name="Ewen Trafford" userId="e520b4bf-a196-48b7-bc10-b1590a457daa" providerId="ADAL" clId="{40737E46-5C00-4D05-85D2-B2DFEF1BFC90}" dt="2022-08-10T10:32:16.290" v="3254" actId="1076"/>
          <ac:spMkLst>
            <pc:docMk/>
            <pc:sldMk cId="2046763801" sldId="338"/>
            <ac:spMk id="64" creationId="{B4A13144-D387-428F-7F98-B7B2AA4428F0}"/>
          </ac:spMkLst>
        </pc:spChg>
        <pc:spChg chg="add mod">
          <ac:chgData name="Ewen Trafford" userId="e520b4bf-a196-48b7-bc10-b1590a457daa" providerId="ADAL" clId="{40737E46-5C00-4D05-85D2-B2DFEF1BFC90}" dt="2022-08-10T10:32:16.290" v="3254" actId="1076"/>
          <ac:spMkLst>
            <pc:docMk/>
            <pc:sldMk cId="2046763801" sldId="338"/>
            <ac:spMk id="65" creationId="{79995864-F0E9-045F-50E0-DBB8E1F3743C}"/>
          </ac:spMkLst>
        </pc:spChg>
        <pc:spChg chg="add mod">
          <ac:chgData name="Ewen Trafford" userId="e520b4bf-a196-48b7-bc10-b1590a457daa" providerId="ADAL" clId="{40737E46-5C00-4D05-85D2-B2DFEF1BFC90}" dt="2022-08-10T10:32:20.644" v="3255" actId="1076"/>
          <ac:spMkLst>
            <pc:docMk/>
            <pc:sldMk cId="2046763801" sldId="338"/>
            <ac:spMk id="66" creationId="{979FA844-0BCB-2CF0-602F-29E604A7F571}"/>
          </ac:spMkLst>
        </pc:spChg>
        <pc:spChg chg="add mod">
          <ac:chgData name="Ewen Trafford" userId="e520b4bf-a196-48b7-bc10-b1590a457daa" providerId="ADAL" clId="{40737E46-5C00-4D05-85D2-B2DFEF1BFC90}" dt="2022-08-10T10:32:16.290" v="3254" actId="1076"/>
          <ac:spMkLst>
            <pc:docMk/>
            <pc:sldMk cId="2046763801" sldId="338"/>
            <ac:spMk id="67" creationId="{042C8E9C-3A32-1DA1-4FAE-3A5B28CB0DB4}"/>
          </ac:spMkLst>
        </pc:spChg>
        <pc:spChg chg="add mod">
          <ac:chgData name="Ewen Trafford" userId="e520b4bf-a196-48b7-bc10-b1590a457daa" providerId="ADAL" clId="{40737E46-5C00-4D05-85D2-B2DFEF1BFC90}" dt="2022-08-10T10:32:16.290" v="3254" actId="1076"/>
          <ac:spMkLst>
            <pc:docMk/>
            <pc:sldMk cId="2046763801" sldId="338"/>
            <ac:spMk id="68" creationId="{670689CE-D1CC-D290-F200-9C7C0140E317}"/>
          </ac:spMkLst>
        </pc:spChg>
        <pc:spChg chg="add del mod">
          <ac:chgData name="Ewen Trafford" userId="e520b4bf-a196-48b7-bc10-b1590a457daa" providerId="ADAL" clId="{40737E46-5C00-4D05-85D2-B2DFEF1BFC90}" dt="2022-08-10T07:31:51.841" v="2009" actId="478"/>
          <ac:spMkLst>
            <pc:docMk/>
            <pc:sldMk cId="2046763801" sldId="338"/>
            <ac:spMk id="70" creationId="{7FF839AC-62FA-07CF-64DA-AF9D8FF69350}"/>
          </ac:spMkLst>
        </pc:spChg>
        <pc:spChg chg="add mod">
          <ac:chgData name="Ewen Trafford" userId="e520b4bf-a196-48b7-bc10-b1590a457daa" providerId="ADAL" clId="{40737E46-5C00-4D05-85D2-B2DFEF1BFC90}" dt="2022-08-10T10:47:13.604" v="3818" actId="1076"/>
          <ac:spMkLst>
            <pc:docMk/>
            <pc:sldMk cId="2046763801" sldId="338"/>
            <ac:spMk id="71" creationId="{A8D0E43A-F240-DDDA-EACE-AD793446F23E}"/>
          </ac:spMkLst>
        </pc:spChg>
        <pc:spChg chg="add mod">
          <ac:chgData name="Ewen Trafford" userId="e520b4bf-a196-48b7-bc10-b1590a457daa" providerId="ADAL" clId="{40737E46-5C00-4D05-85D2-B2DFEF1BFC90}" dt="2022-08-10T10:47:04.375" v="3817" actId="1076"/>
          <ac:spMkLst>
            <pc:docMk/>
            <pc:sldMk cId="2046763801" sldId="338"/>
            <ac:spMk id="72" creationId="{33F10D59-308C-913E-2A2F-099C7BD6C9EC}"/>
          </ac:spMkLst>
        </pc:spChg>
        <pc:spChg chg="add mod">
          <ac:chgData name="Ewen Trafford" userId="e520b4bf-a196-48b7-bc10-b1590a457daa" providerId="ADAL" clId="{40737E46-5C00-4D05-85D2-B2DFEF1BFC90}" dt="2022-08-10T10:47:01.503" v="3816" actId="1076"/>
          <ac:spMkLst>
            <pc:docMk/>
            <pc:sldMk cId="2046763801" sldId="338"/>
            <ac:spMk id="73" creationId="{A0DD06F2-9185-5604-BDC7-BCCBD74AD6F5}"/>
          </ac:spMkLst>
        </pc:spChg>
        <pc:spChg chg="add mod">
          <ac:chgData name="Ewen Trafford" userId="e520b4bf-a196-48b7-bc10-b1590a457daa" providerId="ADAL" clId="{40737E46-5C00-4D05-85D2-B2DFEF1BFC90}" dt="2022-08-10T10:32:31.040" v="3256" actId="1076"/>
          <ac:spMkLst>
            <pc:docMk/>
            <pc:sldMk cId="2046763801" sldId="338"/>
            <ac:spMk id="107" creationId="{365BF89C-93AD-6837-AEF9-9B9DFDC31873}"/>
          </ac:spMkLst>
        </pc:spChg>
        <pc:spChg chg="add mod">
          <ac:chgData name="Ewen Trafford" userId="e520b4bf-a196-48b7-bc10-b1590a457daa" providerId="ADAL" clId="{40737E46-5C00-4D05-85D2-B2DFEF1BFC90}" dt="2022-08-10T10:32:31.040" v="3256" actId="1076"/>
          <ac:spMkLst>
            <pc:docMk/>
            <pc:sldMk cId="2046763801" sldId="338"/>
            <ac:spMk id="108" creationId="{E7495B78-9790-6C35-3DC1-1F27F7A351BB}"/>
          </ac:spMkLst>
        </pc:spChg>
        <pc:spChg chg="add mod">
          <ac:chgData name="Ewen Trafford" userId="e520b4bf-a196-48b7-bc10-b1590a457daa" providerId="ADAL" clId="{40737E46-5C00-4D05-85D2-B2DFEF1BFC90}" dt="2022-08-10T10:32:31.040" v="3256" actId="1076"/>
          <ac:spMkLst>
            <pc:docMk/>
            <pc:sldMk cId="2046763801" sldId="338"/>
            <ac:spMk id="109" creationId="{56EEDD70-E6E8-C2C3-2280-830F652C9C0C}"/>
          </ac:spMkLst>
        </pc:spChg>
        <pc:spChg chg="add mod">
          <ac:chgData name="Ewen Trafford" userId="e520b4bf-a196-48b7-bc10-b1590a457daa" providerId="ADAL" clId="{40737E46-5C00-4D05-85D2-B2DFEF1BFC90}" dt="2022-08-10T10:32:31.040" v="3256" actId="1076"/>
          <ac:spMkLst>
            <pc:docMk/>
            <pc:sldMk cId="2046763801" sldId="338"/>
            <ac:spMk id="138" creationId="{123EEB2C-39B1-F9B2-9A0D-78D95C8E89BD}"/>
          </ac:spMkLst>
        </pc:spChg>
        <pc:spChg chg="add del mod">
          <ac:chgData name="Ewen Trafford" userId="e520b4bf-a196-48b7-bc10-b1590a457daa" providerId="ADAL" clId="{40737E46-5C00-4D05-85D2-B2DFEF1BFC90}" dt="2022-08-10T10:32:31.040" v="3256" actId="1076"/>
          <ac:spMkLst>
            <pc:docMk/>
            <pc:sldMk cId="2046763801" sldId="338"/>
            <ac:spMk id="141" creationId="{0BFAAA24-E39B-106F-B4D3-DDA4E00C4DA8}"/>
          </ac:spMkLst>
        </pc:spChg>
        <pc:spChg chg="add mod">
          <ac:chgData name="Ewen Trafford" userId="e520b4bf-a196-48b7-bc10-b1590a457daa" providerId="ADAL" clId="{40737E46-5C00-4D05-85D2-B2DFEF1BFC90}" dt="2022-08-10T10:32:31.040" v="3256" actId="1076"/>
          <ac:spMkLst>
            <pc:docMk/>
            <pc:sldMk cId="2046763801" sldId="338"/>
            <ac:spMk id="142" creationId="{6DBB383E-5BB7-46DA-77E0-23FB05381A1A}"/>
          </ac:spMkLst>
        </pc:spChg>
        <pc:spChg chg="mod">
          <ac:chgData name="Ewen Trafford" userId="e520b4bf-a196-48b7-bc10-b1590a457daa" providerId="ADAL" clId="{40737E46-5C00-4D05-85D2-B2DFEF1BFC90}" dt="2022-08-10T08:29:58.463" v="2354"/>
          <ac:spMkLst>
            <pc:docMk/>
            <pc:sldMk cId="2046763801" sldId="338"/>
            <ac:spMk id="163" creationId="{82BD58C3-1819-D233-9A1D-60F9B5D30F21}"/>
          </ac:spMkLst>
        </pc:spChg>
        <pc:spChg chg="mod">
          <ac:chgData name="Ewen Trafford" userId="e520b4bf-a196-48b7-bc10-b1590a457daa" providerId="ADAL" clId="{40737E46-5C00-4D05-85D2-B2DFEF1BFC90}" dt="2022-08-10T08:29:58.463" v="2354"/>
          <ac:spMkLst>
            <pc:docMk/>
            <pc:sldMk cId="2046763801" sldId="338"/>
            <ac:spMk id="167" creationId="{6F09DE63-F199-E532-A795-7192FB7345EB}"/>
          </ac:spMkLst>
        </pc:spChg>
        <pc:spChg chg="mod">
          <ac:chgData name="Ewen Trafford" userId="e520b4bf-a196-48b7-bc10-b1590a457daa" providerId="ADAL" clId="{40737E46-5C00-4D05-85D2-B2DFEF1BFC90}" dt="2022-08-10T08:29:58.463" v="2354"/>
          <ac:spMkLst>
            <pc:docMk/>
            <pc:sldMk cId="2046763801" sldId="338"/>
            <ac:spMk id="168" creationId="{841F2373-DE82-D3FC-7819-6674310FC592}"/>
          </ac:spMkLst>
        </pc:spChg>
        <pc:spChg chg="add del mod topLvl">
          <ac:chgData name="Ewen Trafford" userId="e520b4bf-a196-48b7-bc10-b1590a457daa" providerId="ADAL" clId="{40737E46-5C00-4D05-85D2-B2DFEF1BFC90}" dt="2022-08-10T10:35:27.516" v="3302" actId="164"/>
          <ac:spMkLst>
            <pc:docMk/>
            <pc:sldMk cId="2046763801" sldId="338"/>
            <ac:spMk id="170" creationId="{DB563258-CF77-6C13-4796-A4AE58055E83}"/>
          </ac:spMkLst>
        </pc:spChg>
        <pc:spChg chg="del mod">
          <ac:chgData name="Ewen Trafford" userId="e520b4bf-a196-48b7-bc10-b1590a457daa" providerId="ADAL" clId="{40737E46-5C00-4D05-85D2-B2DFEF1BFC90}" dt="2022-08-10T08:30:24.113" v="2364" actId="478"/>
          <ac:spMkLst>
            <pc:docMk/>
            <pc:sldMk cId="2046763801" sldId="338"/>
            <ac:spMk id="176" creationId="{00F1F4B9-4BCF-31D3-83C7-7A7DD201348B}"/>
          </ac:spMkLst>
        </pc:spChg>
        <pc:spChg chg="del mod">
          <ac:chgData name="Ewen Trafford" userId="e520b4bf-a196-48b7-bc10-b1590a457daa" providerId="ADAL" clId="{40737E46-5C00-4D05-85D2-B2DFEF1BFC90}" dt="2022-08-10T08:30:21.087" v="2363" actId="478"/>
          <ac:spMkLst>
            <pc:docMk/>
            <pc:sldMk cId="2046763801" sldId="338"/>
            <ac:spMk id="177" creationId="{ABEA2C36-6BFE-4C3B-46D6-AFA2568B38D5}"/>
          </ac:spMkLst>
        </pc:spChg>
        <pc:spChg chg="del mod">
          <ac:chgData name="Ewen Trafford" userId="e520b4bf-a196-48b7-bc10-b1590a457daa" providerId="ADAL" clId="{40737E46-5C00-4D05-85D2-B2DFEF1BFC90}" dt="2022-08-10T08:30:19.001" v="2362" actId="478"/>
          <ac:spMkLst>
            <pc:docMk/>
            <pc:sldMk cId="2046763801" sldId="338"/>
            <ac:spMk id="178" creationId="{02EA102E-8391-5D34-9966-9843764F828C}"/>
          </ac:spMkLst>
        </pc:spChg>
        <pc:spChg chg="del mod">
          <ac:chgData name="Ewen Trafford" userId="e520b4bf-a196-48b7-bc10-b1590a457daa" providerId="ADAL" clId="{40737E46-5C00-4D05-85D2-B2DFEF1BFC90}" dt="2022-08-10T08:30:16.886" v="2361" actId="478"/>
          <ac:spMkLst>
            <pc:docMk/>
            <pc:sldMk cId="2046763801" sldId="338"/>
            <ac:spMk id="179" creationId="{1596F9F1-14E7-E2A3-346C-40311FCB5816}"/>
          </ac:spMkLst>
        </pc:spChg>
        <pc:spChg chg="add del mod">
          <ac:chgData name="Ewen Trafford" userId="e520b4bf-a196-48b7-bc10-b1590a457daa" providerId="ADAL" clId="{40737E46-5C00-4D05-85D2-B2DFEF1BFC90}" dt="2022-08-10T10:35:27.516" v="3302" actId="164"/>
          <ac:spMkLst>
            <pc:docMk/>
            <pc:sldMk cId="2046763801" sldId="338"/>
            <ac:spMk id="181" creationId="{6C5AAB7D-B5A7-B062-A6DC-283F4532CE4B}"/>
          </ac:spMkLst>
        </pc:spChg>
        <pc:spChg chg="add del mod topLvl">
          <ac:chgData name="Ewen Trafford" userId="e520b4bf-a196-48b7-bc10-b1590a457daa" providerId="ADAL" clId="{40737E46-5C00-4D05-85D2-B2DFEF1BFC90}" dt="2022-08-10T10:35:27.516" v="3302" actId="164"/>
          <ac:spMkLst>
            <pc:docMk/>
            <pc:sldMk cId="2046763801" sldId="338"/>
            <ac:spMk id="184" creationId="{0C8E57F8-A8BA-9F23-031C-774320C14484}"/>
          </ac:spMkLst>
        </pc:spChg>
        <pc:spChg chg="del mod topLvl">
          <ac:chgData name="Ewen Trafford" userId="e520b4bf-a196-48b7-bc10-b1590a457daa" providerId="ADAL" clId="{40737E46-5C00-4D05-85D2-B2DFEF1BFC90}" dt="2022-08-10T08:31:58.786" v="2389" actId="478"/>
          <ac:spMkLst>
            <pc:docMk/>
            <pc:sldMk cId="2046763801" sldId="338"/>
            <ac:spMk id="187" creationId="{E122E1B0-6784-8AFF-3153-701CE5ED1012}"/>
          </ac:spMkLst>
        </pc:spChg>
        <pc:spChg chg="del mod">
          <ac:chgData name="Ewen Trafford" userId="e520b4bf-a196-48b7-bc10-b1590a457daa" providerId="ADAL" clId="{40737E46-5C00-4D05-85D2-B2DFEF1BFC90}" dt="2022-08-10T08:31:57.482" v="2388" actId="478"/>
          <ac:spMkLst>
            <pc:docMk/>
            <pc:sldMk cId="2046763801" sldId="338"/>
            <ac:spMk id="188" creationId="{045757F7-F6B0-403A-D685-E8EFA68D9D1E}"/>
          </ac:spMkLst>
        </pc:spChg>
        <pc:spChg chg="add del mod">
          <ac:chgData name="Ewen Trafford" userId="e520b4bf-a196-48b7-bc10-b1590a457daa" providerId="ADAL" clId="{40737E46-5C00-4D05-85D2-B2DFEF1BFC90}" dt="2022-08-10T10:34:13.694" v="3282" actId="478"/>
          <ac:spMkLst>
            <pc:docMk/>
            <pc:sldMk cId="2046763801" sldId="338"/>
            <ac:spMk id="191" creationId="{0ED3714A-7B89-657E-D49D-8E23ADE4DA7C}"/>
          </ac:spMkLst>
        </pc:spChg>
        <pc:spChg chg="add del mod">
          <ac:chgData name="Ewen Trafford" userId="e520b4bf-a196-48b7-bc10-b1590a457daa" providerId="ADAL" clId="{40737E46-5C00-4D05-85D2-B2DFEF1BFC90}" dt="2022-08-10T10:35:49.110" v="3306" actId="478"/>
          <ac:spMkLst>
            <pc:docMk/>
            <pc:sldMk cId="2046763801" sldId="338"/>
            <ac:spMk id="192" creationId="{6DDF8C8F-B0F0-3162-8FE6-0C20F74F8B47}"/>
          </ac:spMkLst>
        </pc:spChg>
        <pc:spChg chg="add del mod">
          <ac:chgData name="Ewen Trafford" userId="e520b4bf-a196-48b7-bc10-b1590a457daa" providerId="ADAL" clId="{40737E46-5C00-4D05-85D2-B2DFEF1BFC90}" dt="2022-08-10T10:37:41.370" v="3349" actId="1076"/>
          <ac:spMkLst>
            <pc:docMk/>
            <pc:sldMk cId="2046763801" sldId="338"/>
            <ac:spMk id="193" creationId="{F401C55E-706E-9A44-D28F-889E9C408077}"/>
          </ac:spMkLst>
        </pc:spChg>
        <pc:spChg chg="add del mod">
          <ac:chgData name="Ewen Trafford" userId="e520b4bf-a196-48b7-bc10-b1590a457daa" providerId="ADAL" clId="{40737E46-5C00-4D05-85D2-B2DFEF1BFC90}" dt="2022-08-10T10:37:59.237" v="3354" actId="1076"/>
          <ac:spMkLst>
            <pc:docMk/>
            <pc:sldMk cId="2046763801" sldId="338"/>
            <ac:spMk id="194" creationId="{764E6D94-C7A8-B4EF-34BC-F46BD0771E0F}"/>
          </ac:spMkLst>
        </pc:spChg>
        <pc:spChg chg="add mod">
          <ac:chgData name="Ewen Trafford" userId="e520b4bf-a196-48b7-bc10-b1590a457daa" providerId="ADAL" clId="{40737E46-5C00-4D05-85D2-B2DFEF1BFC90}" dt="2022-08-10T10:37:33.063" v="3348" actId="207"/>
          <ac:spMkLst>
            <pc:docMk/>
            <pc:sldMk cId="2046763801" sldId="338"/>
            <ac:spMk id="195" creationId="{ADBA78D6-04DD-1813-BF6D-1A7C284DB5AC}"/>
          </ac:spMkLst>
        </pc:spChg>
        <pc:spChg chg="add del mod">
          <ac:chgData name="Ewen Trafford" userId="e520b4bf-a196-48b7-bc10-b1590a457daa" providerId="ADAL" clId="{40737E46-5C00-4D05-85D2-B2DFEF1BFC90}" dt="2022-08-10T10:37:33.063" v="3348" actId="207"/>
          <ac:spMkLst>
            <pc:docMk/>
            <pc:sldMk cId="2046763801" sldId="338"/>
            <ac:spMk id="196" creationId="{18A2644F-5A0D-9B1F-44E8-228B8A7FC9EF}"/>
          </ac:spMkLst>
        </pc:spChg>
        <pc:spChg chg="add del mod">
          <ac:chgData name="Ewen Trafford" userId="e520b4bf-a196-48b7-bc10-b1590a457daa" providerId="ADAL" clId="{40737E46-5C00-4D05-85D2-B2DFEF1BFC90}" dt="2022-08-10T10:37:33.063" v="3348" actId="207"/>
          <ac:spMkLst>
            <pc:docMk/>
            <pc:sldMk cId="2046763801" sldId="338"/>
            <ac:spMk id="197" creationId="{C532AEDD-6C00-F35F-7906-35A05D85B0F1}"/>
          </ac:spMkLst>
        </pc:spChg>
        <pc:spChg chg="add del mod ord">
          <ac:chgData name="Ewen Trafford" userId="e520b4bf-a196-48b7-bc10-b1590a457daa" providerId="ADAL" clId="{40737E46-5C00-4D05-85D2-B2DFEF1BFC90}" dt="2022-08-10T10:34:09.255" v="3280" actId="1076"/>
          <ac:spMkLst>
            <pc:docMk/>
            <pc:sldMk cId="2046763801" sldId="338"/>
            <ac:spMk id="198" creationId="{AC3A76C1-6D77-C1E7-1CC4-24F18C3BD5D7}"/>
          </ac:spMkLst>
        </pc:spChg>
        <pc:spChg chg="add del mod">
          <ac:chgData name="Ewen Trafford" userId="e520b4bf-a196-48b7-bc10-b1590a457daa" providerId="ADAL" clId="{40737E46-5C00-4D05-85D2-B2DFEF1BFC90}" dt="2022-08-10T10:37:41.370" v="3349" actId="1076"/>
          <ac:spMkLst>
            <pc:docMk/>
            <pc:sldMk cId="2046763801" sldId="338"/>
            <ac:spMk id="199" creationId="{A0438DD2-551A-D827-3500-94E8BF4439BA}"/>
          </ac:spMkLst>
        </pc:spChg>
        <pc:spChg chg="add del mod">
          <ac:chgData name="Ewen Trafford" userId="e520b4bf-a196-48b7-bc10-b1590a457daa" providerId="ADAL" clId="{40737E46-5C00-4D05-85D2-B2DFEF1BFC90}" dt="2022-08-10T10:37:41.370" v="3349" actId="1076"/>
          <ac:spMkLst>
            <pc:docMk/>
            <pc:sldMk cId="2046763801" sldId="338"/>
            <ac:spMk id="200" creationId="{66793F72-4D2B-CFAC-EDDC-8C0F66DB22DA}"/>
          </ac:spMkLst>
        </pc:spChg>
        <pc:spChg chg="add mod">
          <ac:chgData name="Ewen Trafford" userId="e520b4bf-a196-48b7-bc10-b1590a457daa" providerId="ADAL" clId="{40737E46-5C00-4D05-85D2-B2DFEF1BFC90}" dt="2022-08-10T10:32:53.531" v="3264" actId="1076"/>
          <ac:spMkLst>
            <pc:docMk/>
            <pc:sldMk cId="2046763801" sldId="338"/>
            <ac:spMk id="201" creationId="{AA9D6D02-8DAA-A71D-8195-26A9AD8F3AA7}"/>
          </ac:spMkLst>
        </pc:spChg>
        <pc:spChg chg="add mod">
          <ac:chgData name="Ewen Trafford" userId="e520b4bf-a196-48b7-bc10-b1590a457daa" providerId="ADAL" clId="{40737E46-5C00-4D05-85D2-B2DFEF1BFC90}" dt="2022-08-10T10:32:53.531" v="3264" actId="1076"/>
          <ac:spMkLst>
            <pc:docMk/>
            <pc:sldMk cId="2046763801" sldId="338"/>
            <ac:spMk id="202" creationId="{559AE4E5-2F35-4F36-83CB-05D5389B492E}"/>
          </ac:spMkLst>
        </pc:spChg>
        <pc:spChg chg="add mod">
          <ac:chgData name="Ewen Trafford" userId="e520b4bf-a196-48b7-bc10-b1590a457daa" providerId="ADAL" clId="{40737E46-5C00-4D05-85D2-B2DFEF1BFC90}" dt="2022-08-10T10:32:53.531" v="3264" actId="1076"/>
          <ac:spMkLst>
            <pc:docMk/>
            <pc:sldMk cId="2046763801" sldId="338"/>
            <ac:spMk id="203" creationId="{AE7B814A-FB95-6B7D-35F7-80EBF91B72F0}"/>
          </ac:spMkLst>
        </pc:spChg>
        <pc:spChg chg="add mod">
          <ac:chgData name="Ewen Trafford" userId="e520b4bf-a196-48b7-bc10-b1590a457daa" providerId="ADAL" clId="{40737E46-5C00-4D05-85D2-B2DFEF1BFC90}" dt="2022-08-10T10:32:53.531" v="3264" actId="1076"/>
          <ac:spMkLst>
            <pc:docMk/>
            <pc:sldMk cId="2046763801" sldId="338"/>
            <ac:spMk id="204" creationId="{ABB3D436-06BC-61DF-1B80-F9AB75CA9A75}"/>
          </ac:spMkLst>
        </pc:spChg>
        <pc:spChg chg="add del mod ord">
          <ac:chgData name="Ewen Trafford" userId="e520b4bf-a196-48b7-bc10-b1590a457daa" providerId="ADAL" clId="{40737E46-5C00-4D05-85D2-B2DFEF1BFC90}" dt="2022-08-10T10:22:43.460" v="3106" actId="478"/>
          <ac:spMkLst>
            <pc:docMk/>
            <pc:sldMk cId="2046763801" sldId="338"/>
            <ac:spMk id="205" creationId="{88519E36-C8A2-C78F-1389-83EFE5257BC4}"/>
          </ac:spMkLst>
        </pc:spChg>
        <pc:spChg chg="add del mod">
          <ac:chgData name="Ewen Trafford" userId="e520b4bf-a196-48b7-bc10-b1590a457daa" providerId="ADAL" clId="{40737E46-5C00-4D05-85D2-B2DFEF1BFC90}" dt="2022-08-10T10:32:53.531" v="3264" actId="1076"/>
          <ac:spMkLst>
            <pc:docMk/>
            <pc:sldMk cId="2046763801" sldId="338"/>
            <ac:spMk id="206" creationId="{B2F9EC32-2332-DD9D-22F8-B957DCBD0018}"/>
          </ac:spMkLst>
        </pc:spChg>
        <pc:spChg chg="mod">
          <ac:chgData name="Ewen Trafford" userId="e520b4bf-a196-48b7-bc10-b1590a457daa" providerId="ADAL" clId="{40737E46-5C00-4D05-85D2-B2DFEF1BFC90}" dt="2022-08-10T10:11:46.937" v="2715"/>
          <ac:spMkLst>
            <pc:docMk/>
            <pc:sldMk cId="2046763801" sldId="338"/>
            <ac:spMk id="208" creationId="{D1D1BA3B-CDF2-54EF-DC6F-169869CD7818}"/>
          </ac:spMkLst>
        </pc:spChg>
        <pc:spChg chg="mod">
          <ac:chgData name="Ewen Trafford" userId="e520b4bf-a196-48b7-bc10-b1590a457daa" providerId="ADAL" clId="{40737E46-5C00-4D05-85D2-B2DFEF1BFC90}" dt="2022-08-10T10:11:46.937" v="2715"/>
          <ac:spMkLst>
            <pc:docMk/>
            <pc:sldMk cId="2046763801" sldId="338"/>
            <ac:spMk id="211" creationId="{77803F0D-FCDA-7BBB-F0D6-41FBC677BB01}"/>
          </ac:spMkLst>
        </pc:spChg>
        <pc:spChg chg="mod">
          <ac:chgData name="Ewen Trafford" userId="e520b4bf-a196-48b7-bc10-b1590a457daa" providerId="ADAL" clId="{40737E46-5C00-4D05-85D2-B2DFEF1BFC90}" dt="2022-08-10T10:11:46.937" v="2715"/>
          <ac:spMkLst>
            <pc:docMk/>
            <pc:sldMk cId="2046763801" sldId="338"/>
            <ac:spMk id="212" creationId="{3C703B5D-6DA7-3FEC-9C8F-99C459D75A12}"/>
          </ac:spMkLst>
        </pc:spChg>
        <pc:spChg chg="mod">
          <ac:chgData name="Ewen Trafford" userId="e520b4bf-a196-48b7-bc10-b1590a457daa" providerId="ADAL" clId="{40737E46-5C00-4D05-85D2-B2DFEF1BFC90}" dt="2022-08-10T10:12:44.178" v="2739"/>
          <ac:spMkLst>
            <pc:docMk/>
            <pc:sldMk cId="2046763801" sldId="338"/>
            <ac:spMk id="215" creationId="{105847D3-6E79-9EEE-F971-2C0D22C328C8}"/>
          </ac:spMkLst>
        </pc:spChg>
        <pc:spChg chg="mod">
          <ac:chgData name="Ewen Trafford" userId="e520b4bf-a196-48b7-bc10-b1590a457daa" providerId="ADAL" clId="{40737E46-5C00-4D05-85D2-B2DFEF1BFC90}" dt="2022-08-10T10:12:58.037" v="2743" actId="1076"/>
          <ac:spMkLst>
            <pc:docMk/>
            <pc:sldMk cId="2046763801" sldId="338"/>
            <ac:spMk id="221" creationId="{573D0CA5-0277-D241-B32E-43ACC50FE2B1}"/>
          </ac:spMkLst>
        </pc:spChg>
        <pc:spChg chg="mod">
          <ac:chgData name="Ewen Trafford" userId="e520b4bf-a196-48b7-bc10-b1590a457daa" providerId="ADAL" clId="{40737E46-5C00-4D05-85D2-B2DFEF1BFC90}" dt="2022-08-10T10:13:03.169" v="2745" actId="20577"/>
          <ac:spMkLst>
            <pc:docMk/>
            <pc:sldMk cId="2046763801" sldId="338"/>
            <ac:spMk id="222" creationId="{A27E4F6A-75D2-552B-DCEB-93954E4B407E}"/>
          </ac:spMkLst>
        </pc:spChg>
        <pc:spChg chg="del mod">
          <ac:chgData name="Ewen Trafford" userId="e520b4bf-a196-48b7-bc10-b1590a457daa" providerId="ADAL" clId="{40737E46-5C00-4D05-85D2-B2DFEF1BFC90}" dt="2022-08-10T10:13:23.720" v="2747" actId="478"/>
          <ac:spMkLst>
            <pc:docMk/>
            <pc:sldMk cId="2046763801" sldId="338"/>
            <ac:spMk id="223" creationId="{A4D5CA15-5987-01F0-D04E-38C2068222BF}"/>
          </ac:spMkLst>
        </pc:spChg>
        <pc:spChg chg="del mod">
          <ac:chgData name="Ewen Trafford" userId="e520b4bf-a196-48b7-bc10-b1590a457daa" providerId="ADAL" clId="{40737E46-5C00-4D05-85D2-B2DFEF1BFC90}" dt="2022-08-10T10:13:21.706" v="2746" actId="478"/>
          <ac:spMkLst>
            <pc:docMk/>
            <pc:sldMk cId="2046763801" sldId="338"/>
            <ac:spMk id="224" creationId="{24BA5A91-AEA5-B322-548A-D34BA24F97BF}"/>
          </ac:spMkLst>
        </pc:spChg>
        <pc:spChg chg="add del mod">
          <ac:chgData name="Ewen Trafford" userId="e520b4bf-a196-48b7-bc10-b1590a457daa" providerId="ADAL" clId="{40737E46-5C00-4D05-85D2-B2DFEF1BFC90}" dt="2022-08-10T10:17:15.917" v="2821" actId="478"/>
          <ac:spMkLst>
            <pc:docMk/>
            <pc:sldMk cId="2046763801" sldId="338"/>
            <ac:spMk id="228" creationId="{B7DC7AAD-F0BC-9757-B99C-26C451B0BD72}"/>
          </ac:spMkLst>
        </pc:spChg>
        <pc:spChg chg="add del mod">
          <ac:chgData name="Ewen Trafford" userId="e520b4bf-a196-48b7-bc10-b1590a457daa" providerId="ADAL" clId="{40737E46-5C00-4D05-85D2-B2DFEF1BFC90}" dt="2022-08-10T10:17:15.917" v="2821" actId="478"/>
          <ac:spMkLst>
            <pc:docMk/>
            <pc:sldMk cId="2046763801" sldId="338"/>
            <ac:spMk id="229" creationId="{33D4BF08-B9D7-F606-E42F-8102AF1F4F2A}"/>
          </ac:spMkLst>
        </pc:spChg>
        <pc:spChg chg="add del mod">
          <ac:chgData name="Ewen Trafford" userId="e520b4bf-a196-48b7-bc10-b1590a457daa" providerId="ADAL" clId="{40737E46-5C00-4D05-85D2-B2DFEF1BFC90}" dt="2022-08-10T10:32:53.531" v="3264" actId="1076"/>
          <ac:spMkLst>
            <pc:docMk/>
            <pc:sldMk cId="2046763801" sldId="338"/>
            <ac:spMk id="233" creationId="{37FFDDAE-27C0-C2B1-F76F-144BBB2EADDA}"/>
          </ac:spMkLst>
        </pc:spChg>
        <pc:spChg chg="add del mod">
          <ac:chgData name="Ewen Trafford" userId="e520b4bf-a196-48b7-bc10-b1590a457daa" providerId="ADAL" clId="{40737E46-5C00-4D05-85D2-B2DFEF1BFC90}" dt="2022-08-10T10:32:53.531" v="3264" actId="1076"/>
          <ac:spMkLst>
            <pc:docMk/>
            <pc:sldMk cId="2046763801" sldId="338"/>
            <ac:spMk id="234" creationId="{20DDA6DC-6DDF-C65D-F088-3F51786D4E9C}"/>
          </ac:spMkLst>
        </pc:spChg>
        <pc:spChg chg="add mod ord">
          <ac:chgData name="Ewen Trafford" userId="e520b4bf-a196-48b7-bc10-b1590a457daa" providerId="ADAL" clId="{40737E46-5C00-4D05-85D2-B2DFEF1BFC90}" dt="2022-08-10T10:32:31.040" v="3256" actId="1076"/>
          <ac:spMkLst>
            <pc:docMk/>
            <pc:sldMk cId="2046763801" sldId="338"/>
            <ac:spMk id="235" creationId="{B9ED5D92-E57C-6908-840B-3CF7F14FE31A}"/>
          </ac:spMkLst>
        </pc:spChg>
        <pc:spChg chg="add del mod ord">
          <ac:chgData name="Ewen Trafford" userId="e520b4bf-a196-48b7-bc10-b1590a457daa" providerId="ADAL" clId="{40737E46-5C00-4D05-85D2-B2DFEF1BFC90}" dt="2022-08-10T11:01:40.828" v="4381" actId="166"/>
          <ac:spMkLst>
            <pc:docMk/>
            <pc:sldMk cId="2046763801" sldId="338"/>
            <ac:spMk id="236" creationId="{12ED0974-ED88-5F8D-926A-EF66DAE6BD37}"/>
          </ac:spMkLst>
        </pc:spChg>
        <pc:spChg chg="add del mod ord">
          <ac:chgData name="Ewen Trafford" userId="e520b4bf-a196-48b7-bc10-b1590a457daa" providerId="ADAL" clId="{40737E46-5C00-4D05-85D2-B2DFEF1BFC90}" dt="2022-08-10T11:07:40.968" v="4468" actId="167"/>
          <ac:spMkLst>
            <pc:docMk/>
            <pc:sldMk cId="2046763801" sldId="338"/>
            <ac:spMk id="237" creationId="{8D4D3F47-1214-417C-5893-EC8FA2E1C6D4}"/>
          </ac:spMkLst>
        </pc:spChg>
        <pc:spChg chg="add del mod ord">
          <ac:chgData name="Ewen Trafford" userId="e520b4bf-a196-48b7-bc10-b1590a457daa" providerId="ADAL" clId="{40737E46-5C00-4D05-85D2-B2DFEF1BFC90}" dt="2022-08-10T11:01:44.623" v="4382" actId="166"/>
          <ac:spMkLst>
            <pc:docMk/>
            <pc:sldMk cId="2046763801" sldId="338"/>
            <ac:spMk id="238" creationId="{6F513203-F570-182E-5DCB-A465A7194D46}"/>
          </ac:spMkLst>
        </pc:spChg>
        <pc:spChg chg="add del mod">
          <ac:chgData name="Ewen Trafford" userId="e520b4bf-a196-48b7-bc10-b1590a457daa" providerId="ADAL" clId="{40737E46-5C00-4D05-85D2-B2DFEF1BFC90}" dt="2022-08-10T10:25:21.233" v="3148" actId="478"/>
          <ac:spMkLst>
            <pc:docMk/>
            <pc:sldMk cId="2046763801" sldId="338"/>
            <ac:spMk id="245" creationId="{2C87F129-A783-5726-6204-4C2839D390E8}"/>
          </ac:spMkLst>
        </pc:spChg>
        <pc:spChg chg="add del mod">
          <ac:chgData name="Ewen Trafford" userId="e520b4bf-a196-48b7-bc10-b1590a457daa" providerId="ADAL" clId="{40737E46-5C00-4D05-85D2-B2DFEF1BFC90}" dt="2022-08-10T10:35:27.516" v="3302" actId="164"/>
          <ac:spMkLst>
            <pc:docMk/>
            <pc:sldMk cId="2046763801" sldId="338"/>
            <ac:spMk id="246" creationId="{4B3DBE7D-7D4E-1381-6E78-84AF3B5E5D31}"/>
          </ac:spMkLst>
        </pc:spChg>
        <pc:spChg chg="add del mod">
          <ac:chgData name="Ewen Trafford" userId="e520b4bf-a196-48b7-bc10-b1590a457daa" providerId="ADAL" clId="{40737E46-5C00-4D05-85D2-B2DFEF1BFC90}" dt="2022-08-10T10:35:27.516" v="3302" actId="164"/>
          <ac:spMkLst>
            <pc:docMk/>
            <pc:sldMk cId="2046763801" sldId="338"/>
            <ac:spMk id="247" creationId="{399EA2D9-A564-A968-4F6A-1FE821F278C0}"/>
          </ac:spMkLst>
        </pc:spChg>
        <pc:spChg chg="add del mod">
          <ac:chgData name="Ewen Trafford" userId="e520b4bf-a196-48b7-bc10-b1590a457daa" providerId="ADAL" clId="{40737E46-5C00-4D05-85D2-B2DFEF1BFC90}" dt="2022-08-10T10:35:27.516" v="3302" actId="164"/>
          <ac:spMkLst>
            <pc:docMk/>
            <pc:sldMk cId="2046763801" sldId="338"/>
            <ac:spMk id="248" creationId="{DBDDB52C-8B61-3B78-D705-1C3BC1D2D7D5}"/>
          </ac:spMkLst>
        </pc:spChg>
        <pc:spChg chg="add del mod">
          <ac:chgData name="Ewen Trafford" userId="e520b4bf-a196-48b7-bc10-b1590a457daa" providerId="ADAL" clId="{40737E46-5C00-4D05-85D2-B2DFEF1BFC90}" dt="2022-08-10T10:35:27.516" v="3302" actId="164"/>
          <ac:spMkLst>
            <pc:docMk/>
            <pc:sldMk cId="2046763801" sldId="338"/>
            <ac:spMk id="249" creationId="{97C4066A-D9DA-BF2F-C9A0-41E6A8B8946D}"/>
          </ac:spMkLst>
        </pc:spChg>
        <pc:spChg chg="add del mod">
          <ac:chgData name="Ewen Trafford" userId="e520b4bf-a196-48b7-bc10-b1590a457daa" providerId="ADAL" clId="{40737E46-5C00-4D05-85D2-B2DFEF1BFC90}" dt="2022-08-10T10:35:27.516" v="3302" actId="164"/>
          <ac:spMkLst>
            <pc:docMk/>
            <pc:sldMk cId="2046763801" sldId="338"/>
            <ac:spMk id="251" creationId="{BC08F7F3-D6FA-7145-A431-72B5CE6D6A43}"/>
          </ac:spMkLst>
        </pc:spChg>
        <pc:spChg chg="add del mod">
          <ac:chgData name="Ewen Trafford" userId="e520b4bf-a196-48b7-bc10-b1590a457daa" providerId="ADAL" clId="{40737E46-5C00-4D05-85D2-B2DFEF1BFC90}" dt="2022-08-10T10:35:27.516" v="3302" actId="164"/>
          <ac:spMkLst>
            <pc:docMk/>
            <pc:sldMk cId="2046763801" sldId="338"/>
            <ac:spMk id="254" creationId="{7CA45F04-BF88-D229-45DF-EF1D733B8491}"/>
          </ac:spMkLst>
        </pc:spChg>
        <pc:spChg chg="add del mod">
          <ac:chgData name="Ewen Trafford" userId="e520b4bf-a196-48b7-bc10-b1590a457daa" providerId="ADAL" clId="{40737E46-5C00-4D05-85D2-B2DFEF1BFC90}" dt="2022-08-10T10:38:08.691" v="3356" actId="1076"/>
          <ac:spMkLst>
            <pc:docMk/>
            <pc:sldMk cId="2046763801" sldId="338"/>
            <ac:spMk id="257" creationId="{4F28A3AD-7043-DE69-996B-E453C54418F6}"/>
          </ac:spMkLst>
        </pc:spChg>
        <pc:spChg chg="del mod topLvl">
          <ac:chgData name="Ewen Trafford" userId="e520b4bf-a196-48b7-bc10-b1590a457daa" providerId="ADAL" clId="{40737E46-5C00-4D05-85D2-B2DFEF1BFC90}" dt="2022-08-10T10:32:35.861" v="3258" actId="478"/>
          <ac:spMkLst>
            <pc:docMk/>
            <pc:sldMk cId="2046763801" sldId="338"/>
            <ac:spMk id="259" creationId="{6AA951EB-6E22-04D2-0C4F-4CC1075B61F2}"/>
          </ac:spMkLst>
        </pc:spChg>
        <pc:spChg chg="mod">
          <ac:chgData name="Ewen Trafford" userId="e520b4bf-a196-48b7-bc10-b1590a457daa" providerId="ADAL" clId="{40737E46-5C00-4D05-85D2-B2DFEF1BFC90}" dt="2022-08-10T10:29:18.930" v="3205" actId="165"/>
          <ac:spMkLst>
            <pc:docMk/>
            <pc:sldMk cId="2046763801" sldId="338"/>
            <ac:spMk id="265" creationId="{D05C044B-7612-4328-544F-F88DCC07163E}"/>
          </ac:spMkLst>
        </pc:spChg>
        <pc:spChg chg="mod">
          <ac:chgData name="Ewen Trafford" userId="e520b4bf-a196-48b7-bc10-b1590a457daa" providerId="ADAL" clId="{40737E46-5C00-4D05-85D2-B2DFEF1BFC90}" dt="2022-08-10T10:29:18.930" v="3205" actId="165"/>
          <ac:spMkLst>
            <pc:docMk/>
            <pc:sldMk cId="2046763801" sldId="338"/>
            <ac:spMk id="266" creationId="{22665B73-36B5-6EC8-E1C0-837BB061F7D0}"/>
          </ac:spMkLst>
        </pc:spChg>
        <pc:spChg chg="mod">
          <ac:chgData name="Ewen Trafford" userId="e520b4bf-a196-48b7-bc10-b1590a457daa" providerId="ADAL" clId="{40737E46-5C00-4D05-85D2-B2DFEF1BFC90}" dt="2022-08-10T10:30:12.861" v="3216" actId="404"/>
          <ac:spMkLst>
            <pc:docMk/>
            <pc:sldMk cId="2046763801" sldId="338"/>
            <ac:spMk id="267" creationId="{08A74DD0-DDD7-D19A-35AF-DD88255A0128}"/>
          </ac:spMkLst>
        </pc:spChg>
        <pc:spChg chg="mod">
          <ac:chgData name="Ewen Trafford" userId="e520b4bf-a196-48b7-bc10-b1590a457daa" providerId="ADAL" clId="{40737E46-5C00-4D05-85D2-B2DFEF1BFC90}" dt="2022-08-10T10:30:12.861" v="3216" actId="404"/>
          <ac:spMkLst>
            <pc:docMk/>
            <pc:sldMk cId="2046763801" sldId="338"/>
            <ac:spMk id="268" creationId="{B7CDBE28-4416-53AE-866B-D6A911812AE6}"/>
          </ac:spMkLst>
        </pc:spChg>
        <pc:spChg chg="mod">
          <ac:chgData name="Ewen Trafford" userId="e520b4bf-a196-48b7-bc10-b1590a457daa" providerId="ADAL" clId="{40737E46-5C00-4D05-85D2-B2DFEF1BFC90}" dt="2022-08-10T10:30:12.861" v="3216" actId="404"/>
          <ac:spMkLst>
            <pc:docMk/>
            <pc:sldMk cId="2046763801" sldId="338"/>
            <ac:spMk id="270" creationId="{DE51137E-C74A-D49A-924B-872A0BA8CC84}"/>
          </ac:spMkLst>
        </pc:spChg>
        <pc:spChg chg="mod">
          <ac:chgData name="Ewen Trafford" userId="e520b4bf-a196-48b7-bc10-b1590a457daa" providerId="ADAL" clId="{40737E46-5C00-4D05-85D2-B2DFEF1BFC90}" dt="2022-08-10T10:30:12.861" v="3216" actId="404"/>
          <ac:spMkLst>
            <pc:docMk/>
            <pc:sldMk cId="2046763801" sldId="338"/>
            <ac:spMk id="271" creationId="{0B55756E-7341-9B6D-F37D-F1FA965E45B4}"/>
          </ac:spMkLst>
        </pc:spChg>
        <pc:spChg chg="add mod">
          <ac:chgData name="Ewen Trafford" userId="e520b4bf-a196-48b7-bc10-b1590a457daa" providerId="ADAL" clId="{40737E46-5C00-4D05-85D2-B2DFEF1BFC90}" dt="2022-08-10T10:38:11.399" v="3357" actId="1076"/>
          <ac:spMkLst>
            <pc:docMk/>
            <pc:sldMk cId="2046763801" sldId="338"/>
            <ac:spMk id="275" creationId="{9A617DB8-8004-9849-D55C-AACF3F5D6729}"/>
          </ac:spMkLst>
        </pc:spChg>
        <pc:spChg chg="add del mod">
          <ac:chgData name="Ewen Trafford" userId="e520b4bf-a196-48b7-bc10-b1590a457daa" providerId="ADAL" clId="{40737E46-5C00-4D05-85D2-B2DFEF1BFC90}" dt="2022-08-10T10:33:50.621" v="3274"/>
          <ac:spMkLst>
            <pc:docMk/>
            <pc:sldMk cId="2046763801" sldId="338"/>
            <ac:spMk id="276" creationId="{E91833D7-ED76-00C7-E411-539896359217}"/>
          </ac:spMkLst>
        </pc:spChg>
        <pc:spChg chg="add del mod">
          <ac:chgData name="Ewen Trafford" userId="e520b4bf-a196-48b7-bc10-b1590a457daa" providerId="ADAL" clId="{40737E46-5C00-4D05-85D2-B2DFEF1BFC90}" dt="2022-08-10T10:33:50.621" v="3274"/>
          <ac:spMkLst>
            <pc:docMk/>
            <pc:sldMk cId="2046763801" sldId="338"/>
            <ac:spMk id="282" creationId="{7E34CEFB-F0AF-0C27-C1DF-2412F8E042EE}"/>
          </ac:spMkLst>
        </pc:spChg>
        <pc:spChg chg="add del mod">
          <ac:chgData name="Ewen Trafford" userId="e520b4bf-a196-48b7-bc10-b1590a457daa" providerId="ADAL" clId="{40737E46-5C00-4D05-85D2-B2DFEF1BFC90}" dt="2022-08-10T10:33:50.621" v="3274"/>
          <ac:spMkLst>
            <pc:docMk/>
            <pc:sldMk cId="2046763801" sldId="338"/>
            <ac:spMk id="283" creationId="{99AAFC8F-029D-BEC6-A155-774E84AD92B9}"/>
          </ac:spMkLst>
        </pc:spChg>
        <pc:spChg chg="add del mod">
          <ac:chgData name="Ewen Trafford" userId="e520b4bf-a196-48b7-bc10-b1590a457daa" providerId="ADAL" clId="{40737E46-5C00-4D05-85D2-B2DFEF1BFC90}" dt="2022-08-10T10:33:50.621" v="3274"/>
          <ac:spMkLst>
            <pc:docMk/>
            <pc:sldMk cId="2046763801" sldId="338"/>
            <ac:spMk id="284" creationId="{7CE6B586-1472-8B62-96C5-7DDD3EB134AA}"/>
          </ac:spMkLst>
        </pc:spChg>
        <pc:spChg chg="add del mod">
          <ac:chgData name="Ewen Trafford" userId="e520b4bf-a196-48b7-bc10-b1590a457daa" providerId="ADAL" clId="{40737E46-5C00-4D05-85D2-B2DFEF1BFC90}" dt="2022-08-10T10:33:50.621" v="3274"/>
          <ac:spMkLst>
            <pc:docMk/>
            <pc:sldMk cId="2046763801" sldId="338"/>
            <ac:spMk id="285" creationId="{DC116C60-E9AB-6A40-EEF2-F14B9E831EDB}"/>
          </ac:spMkLst>
        </pc:spChg>
        <pc:spChg chg="mod">
          <ac:chgData name="Ewen Trafford" userId="e520b4bf-a196-48b7-bc10-b1590a457daa" providerId="ADAL" clId="{40737E46-5C00-4D05-85D2-B2DFEF1BFC90}" dt="2022-08-10T10:33:20.764" v="3269"/>
          <ac:spMkLst>
            <pc:docMk/>
            <pc:sldMk cId="2046763801" sldId="338"/>
            <ac:spMk id="287" creationId="{D807AC39-3E33-56DD-C6CE-85EF76FDD7B4}"/>
          </ac:spMkLst>
        </pc:spChg>
        <pc:spChg chg="mod">
          <ac:chgData name="Ewen Trafford" userId="e520b4bf-a196-48b7-bc10-b1590a457daa" providerId="ADAL" clId="{40737E46-5C00-4D05-85D2-B2DFEF1BFC90}" dt="2022-08-10T10:33:20.764" v="3269"/>
          <ac:spMkLst>
            <pc:docMk/>
            <pc:sldMk cId="2046763801" sldId="338"/>
            <ac:spMk id="288" creationId="{2943EFC6-9A64-E2D5-E6F4-2FFAE618B2D5}"/>
          </ac:spMkLst>
        </pc:spChg>
        <pc:spChg chg="add del mod">
          <ac:chgData name="Ewen Trafford" userId="e520b4bf-a196-48b7-bc10-b1590a457daa" providerId="ADAL" clId="{40737E46-5C00-4D05-85D2-B2DFEF1BFC90}" dt="2022-08-10T10:34:23.049" v="3286"/>
          <ac:spMkLst>
            <pc:docMk/>
            <pc:sldMk cId="2046763801" sldId="338"/>
            <ac:spMk id="289" creationId="{5C231746-F68A-11BF-6B86-1B352AF43F0C}"/>
          </ac:spMkLst>
        </pc:spChg>
        <pc:spChg chg="add del mod">
          <ac:chgData name="Ewen Trafford" userId="e520b4bf-a196-48b7-bc10-b1590a457daa" providerId="ADAL" clId="{40737E46-5C00-4D05-85D2-B2DFEF1BFC90}" dt="2022-08-10T10:34:23.049" v="3286"/>
          <ac:spMkLst>
            <pc:docMk/>
            <pc:sldMk cId="2046763801" sldId="338"/>
            <ac:spMk id="295" creationId="{AF25C99C-D081-FD3D-D6F8-001EF37D15B7}"/>
          </ac:spMkLst>
        </pc:spChg>
        <pc:spChg chg="add del mod">
          <ac:chgData name="Ewen Trafford" userId="e520b4bf-a196-48b7-bc10-b1590a457daa" providerId="ADAL" clId="{40737E46-5C00-4D05-85D2-B2DFEF1BFC90}" dt="2022-08-10T10:34:23.049" v="3286"/>
          <ac:spMkLst>
            <pc:docMk/>
            <pc:sldMk cId="2046763801" sldId="338"/>
            <ac:spMk id="296" creationId="{8378CAAC-C96D-5D0E-B06B-D44D4FAECB21}"/>
          </ac:spMkLst>
        </pc:spChg>
        <pc:spChg chg="add del mod">
          <ac:chgData name="Ewen Trafford" userId="e520b4bf-a196-48b7-bc10-b1590a457daa" providerId="ADAL" clId="{40737E46-5C00-4D05-85D2-B2DFEF1BFC90}" dt="2022-08-10T10:34:23.049" v="3286"/>
          <ac:spMkLst>
            <pc:docMk/>
            <pc:sldMk cId="2046763801" sldId="338"/>
            <ac:spMk id="297" creationId="{02120620-BAC4-0E73-325B-65E59119D243}"/>
          </ac:spMkLst>
        </pc:spChg>
        <pc:spChg chg="add del mod">
          <ac:chgData name="Ewen Trafford" userId="e520b4bf-a196-48b7-bc10-b1590a457daa" providerId="ADAL" clId="{40737E46-5C00-4D05-85D2-B2DFEF1BFC90}" dt="2022-08-10T10:34:23.049" v="3286"/>
          <ac:spMkLst>
            <pc:docMk/>
            <pc:sldMk cId="2046763801" sldId="338"/>
            <ac:spMk id="298" creationId="{43423FC8-C229-7B25-F23D-9E93913A3AB1}"/>
          </ac:spMkLst>
        </pc:spChg>
        <pc:spChg chg="mod">
          <ac:chgData name="Ewen Trafford" userId="e520b4bf-a196-48b7-bc10-b1590a457daa" providerId="ADAL" clId="{40737E46-5C00-4D05-85D2-B2DFEF1BFC90}" dt="2022-08-10T10:34:18.944" v="3283"/>
          <ac:spMkLst>
            <pc:docMk/>
            <pc:sldMk cId="2046763801" sldId="338"/>
            <ac:spMk id="300" creationId="{8A29F9C2-264B-65A1-5CC5-49D777CF30FE}"/>
          </ac:spMkLst>
        </pc:spChg>
        <pc:spChg chg="mod">
          <ac:chgData name="Ewen Trafford" userId="e520b4bf-a196-48b7-bc10-b1590a457daa" providerId="ADAL" clId="{40737E46-5C00-4D05-85D2-B2DFEF1BFC90}" dt="2022-08-10T10:34:18.944" v="3283"/>
          <ac:spMkLst>
            <pc:docMk/>
            <pc:sldMk cId="2046763801" sldId="338"/>
            <ac:spMk id="301" creationId="{ED9F3A02-EA18-2779-4A22-7932D43C4F4E}"/>
          </ac:spMkLst>
        </pc:spChg>
        <pc:spChg chg="add mod">
          <ac:chgData name="Ewen Trafford" userId="e520b4bf-a196-48b7-bc10-b1590a457daa" providerId="ADAL" clId="{40737E46-5C00-4D05-85D2-B2DFEF1BFC90}" dt="2022-08-10T10:34:35.960" v="3290" actId="1076"/>
          <ac:spMkLst>
            <pc:docMk/>
            <pc:sldMk cId="2046763801" sldId="338"/>
            <ac:spMk id="302" creationId="{E0F809BA-1060-A600-8A11-C801F45363BE}"/>
          </ac:spMkLst>
        </pc:spChg>
        <pc:spChg chg="add mod">
          <ac:chgData name="Ewen Trafford" userId="e520b4bf-a196-48b7-bc10-b1590a457daa" providerId="ADAL" clId="{40737E46-5C00-4D05-85D2-B2DFEF1BFC90}" dt="2022-08-10T10:34:35.960" v="3290" actId="1076"/>
          <ac:spMkLst>
            <pc:docMk/>
            <pc:sldMk cId="2046763801" sldId="338"/>
            <ac:spMk id="308" creationId="{D0229F39-CBE8-165D-E882-ECBC5069E44A}"/>
          </ac:spMkLst>
        </pc:spChg>
        <pc:spChg chg="add mod">
          <ac:chgData name="Ewen Trafford" userId="e520b4bf-a196-48b7-bc10-b1590a457daa" providerId="ADAL" clId="{40737E46-5C00-4D05-85D2-B2DFEF1BFC90}" dt="2022-08-10T10:34:35.960" v="3290" actId="1076"/>
          <ac:spMkLst>
            <pc:docMk/>
            <pc:sldMk cId="2046763801" sldId="338"/>
            <ac:spMk id="309" creationId="{6AB706FA-3F18-A2F5-B58E-AE4EB2D6D39B}"/>
          </ac:spMkLst>
        </pc:spChg>
        <pc:spChg chg="add mod">
          <ac:chgData name="Ewen Trafford" userId="e520b4bf-a196-48b7-bc10-b1590a457daa" providerId="ADAL" clId="{40737E46-5C00-4D05-85D2-B2DFEF1BFC90}" dt="2022-08-10T10:34:35.960" v="3290" actId="1076"/>
          <ac:spMkLst>
            <pc:docMk/>
            <pc:sldMk cId="2046763801" sldId="338"/>
            <ac:spMk id="310" creationId="{8792E796-CEDB-491C-1CF4-574B6A510E5B}"/>
          </ac:spMkLst>
        </pc:spChg>
        <pc:spChg chg="add mod">
          <ac:chgData name="Ewen Trafford" userId="e520b4bf-a196-48b7-bc10-b1590a457daa" providerId="ADAL" clId="{40737E46-5C00-4D05-85D2-B2DFEF1BFC90}" dt="2022-08-10T10:35:05.965" v="3299" actId="1076"/>
          <ac:spMkLst>
            <pc:docMk/>
            <pc:sldMk cId="2046763801" sldId="338"/>
            <ac:spMk id="311" creationId="{D36D3758-CEFE-2673-1F03-9DBA034A5431}"/>
          </ac:spMkLst>
        </pc:spChg>
        <pc:spChg chg="mod">
          <ac:chgData name="Ewen Trafford" userId="e520b4bf-a196-48b7-bc10-b1590a457daa" providerId="ADAL" clId="{40737E46-5C00-4D05-85D2-B2DFEF1BFC90}" dt="2022-08-10T10:34:28.600" v="3289"/>
          <ac:spMkLst>
            <pc:docMk/>
            <pc:sldMk cId="2046763801" sldId="338"/>
            <ac:spMk id="313" creationId="{E0E65D5D-B35D-411B-B435-0E0988652600}"/>
          </ac:spMkLst>
        </pc:spChg>
        <pc:spChg chg="mod ord">
          <ac:chgData name="Ewen Trafford" userId="e520b4bf-a196-48b7-bc10-b1590a457daa" providerId="ADAL" clId="{40737E46-5C00-4D05-85D2-B2DFEF1BFC90}" dt="2022-08-10T10:37:45.693" v="3350" actId="166"/>
          <ac:spMkLst>
            <pc:docMk/>
            <pc:sldMk cId="2046763801" sldId="338"/>
            <ac:spMk id="314" creationId="{0E188E07-FB4F-0275-CFF0-3BC1D0C506F7}"/>
          </ac:spMkLst>
        </pc:spChg>
        <pc:spChg chg="mod">
          <ac:chgData name="Ewen Trafford" userId="e520b4bf-a196-48b7-bc10-b1590a457daa" providerId="ADAL" clId="{40737E46-5C00-4D05-85D2-B2DFEF1BFC90}" dt="2022-08-10T10:38:05.702" v="3355" actId="1076"/>
          <ac:spMkLst>
            <pc:docMk/>
            <pc:sldMk cId="2046763801" sldId="338"/>
            <ac:spMk id="321" creationId="{A03001EA-1FBF-1AD1-F9AC-BA04A97689C9}"/>
          </ac:spMkLst>
        </pc:spChg>
        <pc:spChg chg="mod">
          <ac:chgData name="Ewen Trafford" userId="e520b4bf-a196-48b7-bc10-b1590a457daa" providerId="ADAL" clId="{40737E46-5C00-4D05-85D2-B2DFEF1BFC90}" dt="2022-08-10T10:38:34.020" v="3365" actId="1076"/>
          <ac:spMkLst>
            <pc:docMk/>
            <pc:sldMk cId="2046763801" sldId="338"/>
            <ac:spMk id="323" creationId="{448D22D5-AFF1-A4C3-40C1-7E2E67224501}"/>
          </ac:spMkLst>
        </pc:spChg>
        <pc:spChg chg="del mod">
          <ac:chgData name="Ewen Trafford" userId="e520b4bf-a196-48b7-bc10-b1590a457daa" providerId="ADAL" clId="{40737E46-5C00-4D05-85D2-B2DFEF1BFC90}" dt="2022-08-10T10:36:19.645" v="3316" actId="478"/>
          <ac:spMkLst>
            <pc:docMk/>
            <pc:sldMk cId="2046763801" sldId="338"/>
            <ac:spMk id="324" creationId="{D4494F3A-484A-A36D-7E85-2331257327DE}"/>
          </ac:spMkLst>
        </pc:spChg>
        <pc:spChg chg="del mod">
          <ac:chgData name="Ewen Trafford" userId="e520b4bf-a196-48b7-bc10-b1590a457daa" providerId="ADAL" clId="{40737E46-5C00-4D05-85D2-B2DFEF1BFC90}" dt="2022-08-10T10:36:11.849" v="3311" actId="478"/>
          <ac:spMkLst>
            <pc:docMk/>
            <pc:sldMk cId="2046763801" sldId="338"/>
            <ac:spMk id="326" creationId="{43E2BA71-2F36-5234-51C3-997AB60D2FEC}"/>
          </ac:spMkLst>
        </pc:spChg>
        <pc:spChg chg="mod">
          <ac:chgData name="Ewen Trafford" userId="e520b4bf-a196-48b7-bc10-b1590a457daa" providerId="ADAL" clId="{40737E46-5C00-4D05-85D2-B2DFEF1BFC90}" dt="2022-08-10T10:37:22.545" v="3343" actId="1076"/>
          <ac:spMkLst>
            <pc:docMk/>
            <pc:sldMk cId="2046763801" sldId="338"/>
            <ac:spMk id="328" creationId="{D29C3526-2DD6-4B01-156A-50F41BDF3609}"/>
          </ac:spMkLst>
        </pc:spChg>
        <pc:spChg chg="del mod">
          <ac:chgData name="Ewen Trafford" userId="e520b4bf-a196-48b7-bc10-b1590a457daa" providerId="ADAL" clId="{40737E46-5C00-4D05-85D2-B2DFEF1BFC90}" dt="2022-08-10T10:36:25.568" v="3319" actId="478"/>
          <ac:spMkLst>
            <pc:docMk/>
            <pc:sldMk cId="2046763801" sldId="338"/>
            <ac:spMk id="333" creationId="{220D496A-0FAF-BC24-00F8-7FD0588EB8E3}"/>
          </ac:spMkLst>
        </pc:spChg>
        <pc:spChg chg="del mod">
          <ac:chgData name="Ewen Trafford" userId="e520b4bf-a196-48b7-bc10-b1590a457daa" providerId="ADAL" clId="{40737E46-5C00-4D05-85D2-B2DFEF1BFC90}" dt="2022-08-10T10:36:31.660" v="3324" actId="478"/>
          <ac:spMkLst>
            <pc:docMk/>
            <pc:sldMk cId="2046763801" sldId="338"/>
            <ac:spMk id="334" creationId="{6880EEAF-7E10-72B4-89E5-0532CD3CCC7C}"/>
          </ac:spMkLst>
        </pc:spChg>
        <pc:spChg chg="del mod">
          <ac:chgData name="Ewen Trafford" userId="e520b4bf-a196-48b7-bc10-b1590a457daa" providerId="ADAL" clId="{40737E46-5C00-4D05-85D2-B2DFEF1BFC90}" dt="2022-08-10T10:36:27.975" v="3321" actId="478"/>
          <ac:spMkLst>
            <pc:docMk/>
            <pc:sldMk cId="2046763801" sldId="338"/>
            <ac:spMk id="335" creationId="{559D2393-5BD3-62FE-8C60-F34728CC4104}"/>
          </ac:spMkLst>
        </pc:spChg>
        <pc:spChg chg="add del mod">
          <ac:chgData name="Ewen Trafford" userId="e520b4bf-a196-48b7-bc10-b1590a457daa" providerId="ADAL" clId="{40737E46-5C00-4D05-85D2-B2DFEF1BFC90}" dt="2022-08-10T10:36:47.278" v="3332" actId="478"/>
          <ac:spMkLst>
            <pc:docMk/>
            <pc:sldMk cId="2046763801" sldId="338"/>
            <ac:spMk id="336" creationId="{7D594A9C-3A5D-D96E-785F-065576859B4B}"/>
          </ac:spMkLst>
        </pc:spChg>
        <pc:spChg chg="mod ord">
          <ac:chgData name="Ewen Trafford" userId="e520b4bf-a196-48b7-bc10-b1590a457daa" providerId="ADAL" clId="{40737E46-5C00-4D05-85D2-B2DFEF1BFC90}" dt="2022-08-10T10:37:19.719" v="3341" actId="1076"/>
          <ac:spMkLst>
            <pc:docMk/>
            <pc:sldMk cId="2046763801" sldId="338"/>
            <ac:spMk id="338" creationId="{BB755DC2-EFF5-6C38-9E63-B0D5A9D38F67}"/>
          </ac:spMkLst>
        </pc:spChg>
        <pc:spChg chg="mod">
          <ac:chgData name="Ewen Trafford" userId="e520b4bf-a196-48b7-bc10-b1590a457daa" providerId="ADAL" clId="{40737E46-5C00-4D05-85D2-B2DFEF1BFC90}" dt="2022-08-10T10:36:05.203" v="3308"/>
          <ac:spMkLst>
            <pc:docMk/>
            <pc:sldMk cId="2046763801" sldId="338"/>
            <ac:spMk id="339" creationId="{F47124CC-7ADE-8A04-8C26-AD82700A6916}"/>
          </ac:spMkLst>
        </pc:spChg>
        <pc:spChg chg="mod">
          <ac:chgData name="Ewen Trafford" userId="e520b4bf-a196-48b7-bc10-b1590a457daa" providerId="ADAL" clId="{40737E46-5C00-4D05-85D2-B2DFEF1BFC90}" dt="2022-08-10T10:36:05.203" v="3308"/>
          <ac:spMkLst>
            <pc:docMk/>
            <pc:sldMk cId="2046763801" sldId="338"/>
            <ac:spMk id="345" creationId="{646C23D1-69A9-7DF8-9686-58561D7F54F1}"/>
          </ac:spMkLst>
        </pc:spChg>
        <pc:spChg chg="mod">
          <ac:chgData name="Ewen Trafford" userId="e520b4bf-a196-48b7-bc10-b1590a457daa" providerId="ADAL" clId="{40737E46-5C00-4D05-85D2-B2DFEF1BFC90}" dt="2022-08-10T10:37:04.833" v="3338" actId="1076"/>
          <ac:spMkLst>
            <pc:docMk/>
            <pc:sldMk cId="2046763801" sldId="338"/>
            <ac:spMk id="346" creationId="{1C0C96FB-5892-96C8-0BEE-FDC7AFFD54D0}"/>
          </ac:spMkLst>
        </pc:spChg>
        <pc:spChg chg="del mod">
          <ac:chgData name="Ewen Trafford" userId="e520b4bf-a196-48b7-bc10-b1590a457daa" providerId="ADAL" clId="{40737E46-5C00-4D05-85D2-B2DFEF1BFC90}" dt="2022-08-10T10:37:50.471" v="3351" actId="478"/>
          <ac:spMkLst>
            <pc:docMk/>
            <pc:sldMk cId="2046763801" sldId="338"/>
            <ac:spMk id="347" creationId="{81BF88E3-BDA4-D24E-E387-E22F8189CDF4}"/>
          </ac:spMkLst>
        </pc:spChg>
        <pc:spChg chg="del mod">
          <ac:chgData name="Ewen Trafford" userId="e520b4bf-a196-48b7-bc10-b1590a457daa" providerId="ADAL" clId="{40737E46-5C00-4D05-85D2-B2DFEF1BFC90}" dt="2022-08-10T10:36:21.069" v="3317" actId="478"/>
          <ac:spMkLst>
            <pc:docMk/>
            <pc:sldMk cId="2046763801" sldId="338"/>
            <ac:spMk id="348" creationId="{A7497E8C-C9AD-4ED5-AB83-AF6F43E6521E}"/>
          </ac:spMkLst>
        </pc:spChg>
        <pc:grpChg chg="add mod">
          <ac:chgData name="Ewen Trafford" userId="e520b4bf-a196-48b7-bc10-b1590a457daa" providerId="ADAL" clId="{40737E46-5C00-4D05-85D2-B2DFEF1BFC90}" dt="2022-08-10T10:32:16.290" v="3254" actId="1076"/>
          <ac:grpSpMkLst>
            <pc:docMk/>
            <pc:sldMk cId="2046763801" sldId="338"/>
            <ac:grpSpMk id="5" creationId="{3A479682-131B-4C00-C303-1E5D76B9C115}"/>
          </ac:grpSpMkLst>
        </pc:grpChg>
        <pc:grpChg chg="mod">
          <ac:chgData name="Ewen Trafford" userId="e520b4bf-a196-48b7-bc10-b1590a457daa" providerId="ADAL" clId="{40737E46-5C00-4D05-85D2-B2DFEF1BFC90}" dt="2022-08-10T07:31:47.028" v="2007"/>
          <ac:grpSpMkLst>
            <pc:docMk/>
            <pc:sldMk cId="2046763801" sldId="338"/>
            <ac:grpSpMk id="6" creationId="{3CDBEDC8-B173-02E5-9082-62CA82D83AD0}"/>
          </ac:grpSpMkLst>
        </pc:grpChg>
        <pc:grpChg chg="mod">
          <ac:chgData name="Ewen Trafford" userId="e520b4bf-a196-48b7-bc10-b1590a457daa" providerId="ADAL" clId="{40737E46-5C00-4D05-85D2-B2DFEF1BFC90}" dt="2022-08-10T07:31:47.028" v="2007"/>
          <ac:grpSpMkLst>
            <pc:docMk/>
            <pc:sldMk cId="2046763801" sldId="338"/>
            <ac:grpSpMk id="13" creationId="{DDB37FEA-C71C-57F1-33F2-D44C40BBBDCD}"/>
          </ac:grpSpMkLst>
        </pc:grpChg>
        <pc:grpChg chg="add mod">
          <ac:chgData name="Ewen Trafford" userId="e520b4bf-a196-48b7-bc10-b1590a457daa" providerId="ADAL" clId="{40737E46-5C00-4D05-85D2-B2DFEF1BFC90}" dt="2022-08-10T10:32:16.290" v="3254" actId="1076"/>
          <ac:grpSpMkLst>
            <pc:docMk/>
            <pc:sldMk cId="2046763801" sldId="338"/>
            <ac:grpSpMk id="19" creationId="{AFE38CD7-E201-BCD7-478F-7C18D322FFA4}"/>
          </ac:grpSpMkLst>
        </pc:grpChg>
        <pc:grpChg chg="mod">
          <ac:chgData name="Ewen Trafford" userId="e520b4bf-a196-48b7-bc10-b1590a457daa" providerId="ADAL" clId="{40737E46-5C00-4D05-85D2-B2DFEF1BFC90}" dt="2022-08-10T07:31:47.028" v="2007"/>
          <ac:grpSpMkLst>
            <pc:docMk/>
            <pc:sldMk cId="2046763801" sldId="338"/>
            <ac:grpSpMk id="20" creationId="{147441CC-F997-C720-333C-AF09DFACC439}"/>
          </ac:grpSpMkLst>
        </pc:grpChg>
        <pc:grpChg chg="mod">
          <ac:chgData name="Ewen Trafford" userId="e520b4bf-a196-48b7-bc10-b1590a457daa" providerId="ADAL" clId="{40737E46-5C00-4D05-85D2-B2DFEF1BFC90}" dt="2022-08-10T07:31:47.028" v="2007"/>
          <ac:grpSpMkLst>
            <pc:docMk/>
            <pc:sldMk cId="2046763801" sldId="338"/>
            <ac:grpSpMk id="27" creationId="{98323F50-E20D-5C3D-6AF4-F248E18F98C3}"/>
          </ac:grpSpMkLst>
        </pc:grpChg>
        <pc:grpChg chg="add mod">
          <ac:chgData name="Ewen Trafford" userId="e520b4bf-a196-48b7-bc10-b1590a457daa" providerId="ADAL" clId="{40737E46-5C00-4D05-85D2-B2DFEF1BFC90}" dt="2022-08-10T10:32:20.644" v="3255" actId="1076"/>
          <ac:grpSpMkLst>
            <pc:docMk/>
            <pc:sldMk cId="2046763801" sldId="338"/>
            <ac:grpSpMk id="36" creationId="{BEE298E0-0E51-9519-3209-ED810253754F}"/>
          </ac:grpSpMkLst>
        </pc:grpChg>
        <pc:grpChg chg="mod">
          <ac:chgData name="Ewen Trafford" userId="e520b4bf-a196-48b7-bc10-b1590a457daa" providerId="ADAL" clId="{40737E46-5C00-4D05-85D2-B2DFEF1BFC90}" dt="2022-08-10T07:31:47.028" v="2007"/>
          <ac:grpSpMkLst>
            <pc:docMk/>
            <pc:sldMk cId="2046763801" sldId="338"/>
            <ac:grpSpMk id="37" creationId="{74400225-1930-E9BA-EF78-C133EC71D27B}"/>
          </ac:grpSpMkLst>
        </pc:grpChg>
        <pc:grpChg chg="mod">
          <ac:chgData name="Ewen Trafford" userId="e520b4bf-a196-48b7-bc10-b1590a457daa" providerId="ADAL" clId="{40737E46-5C00-4D05-85D2-B2DFEF1BFC90}" dt="2022-08-10T07:31:47.028" v="2007"/>
          <ac:grpSpMkLst>
            <pc:docMk/>
            <pc:sldMk cId="2046763801" sldId="338"/>
            <ac:grpSpMk id="45" creationId="{58B456B0-4E19-AFD2-79F0-7E5AC0299D1D}"/>
          </ac:grpSpMkLst>
        </pc:grpChg>
        <pc:grpChg chg="del mod">
          <ac:chgData name="Ewen Trafford" userId="e520b4bf-a196-48b7-bc10-b1590a457daa" providerId="ADAL" clId="{40737E46-5C00-4D05-85D2-B2DFEF1BFC90}" dt="2022-08-10T07:40:34.683" v="2129"/>
          <ac:grpSpMkLst>
            <pc:docMk/>
            <pc:sldMk cId="2046763801" sldId="338"/>
            <ac:grpSpMk id="77" creationId="{C2BFF956-ECC3-D1C1-B840-953F82392B46}"/>
          </ac:grpSpMkLst>
        </pc:grpChg>
        <pc:grpChg chg="del mod">
          <ac:chgData name="Ewen Trafford" userId="e520b4bf-a196-48b7-bc10-b1590a457daa" providerId="ADAL" clId="{40737E46-5C00-4D05-85D2-B2DFEF1BFC90}" dt="2022-08-10T07:40:37.117" v="2131"/>
          <ac:grpSpMkLst>
            <pc:docMk/>
            <pc:sldMk cId="2046763801" sldId="338"/>
            <ac:grpSpMk id="79" creationId="{C5BF604B-2DE8-94FC-206C-31492FECC2C9}"/>
          </ac:grpSpMkLst>
        </pc:grpChg>
        <pc:grpChg chg="del mod">
          <ac:chgData name="Ewen Trafford" userId="e520b4bf-a196-48b7-bc10-b1590a457daa" providerId="ADAL" clId="{40737E46-5C00-4D05-85D2-B2DFEF1BFC90}" dt="2022-08-10T07:40:39.693" v="2134"/>
          <ac:grpSpMkLst>
            <pc:docMk/>
            <pc:sldMk cId="2046763801" sldId="338"/>
            <ac:grpSpMk id="81" creationId="{9FC12B02-5060-DC83-4D43-A7A197A1106C}"/>
          </ac:grpSpMkLst>
        </pc:grpChg>
        <pc:grpChg chg="del mod">
          <ac:chgData name="Ewen Trafford" userId="e520b4bf-a196-48b7-bc10-b1590a457daa" providerId="ADAL" clId="{40737E46-5C00-4D05-85D2-B2DFEF1BFC90}" dt="2022-08-10T07:40:40.524" v="2136"/>
          <ac:grpSpMkLst>
            <pc:docMk/>
            <pc:sldMk cId="2046763801" sldId="338"/>
            <ac:grpSpMk id="84" creationId="{F9A0317A-79B4-B49B-EB07-1C935C0D9871}"/>
          </ac:grpSpMkLst>
        </pc:grpChg>
        <pc:grpChg chg="mod">
          <ac:chgData name="Ewen Trafford" userId="e520b4bf-a196-48b7-bc10-b1590a457daa" providerId="ADAL" clId="{40737E46-5C00-4D05-85D2-B2DFEF1BFC90}" dt="2022-08-10T07:42:12.171" v="2166" actId="164"/>
          <ac:grpSpMkLst>
            <pc:docMk/>
            <pc:sldMk cId="2046763801" sldId="338"/>
            <ac:grpSpMk id="86" creationId="{6E509B44-EE41-A488-22B2-7AE1DA5EA973}"/>
          </ac:grpSpMkLst>
        </pc:grpChg>
        <pc:grpChg chg="mod">
          <ac:chgData name="Ewen Trafford" userId="e520b4bf-a196-48b7-bc10-b1590a457daa" providerId="ADAL" clId="{40737E46-5C00-4D05-85D2-B2DFEF1BFC90}" dt="2022-08-10T07:42:12.171" v="2166" actId="164"/>
          <ac:grpSpMkLst>
            <pc:docMk/>
            <pc:sldMk cId="2046763801" sldId="338"/>
            <ac:grpSpMk id="89" creationId="{B79ACC03-5E06-7560-CC11-F130E5D5BB89}"/>
          </ac:grpSpMkLst>
        </pc:grpChg>
        <pc:grpChg chg="mod">
          <ac:chgData name="Ewen Trafford" userId="e520b4bf-a196-48b7-bc10-b1590a457daa" providerId="ADAL" clId="{40737E46-5C00-4D05-85D2-B2DFEF1BFC90}" dt="2022-08-10T07:42:12.171" v="2166" actId="164"/>
          <ac:grpSpMkLst>
            <pc:docMk/>
            <pc:sldMk cId="2046763801" sldId="338"/>
            <ac:grpSpMk id="94" creationId="{7709B3AA-986E-D42D-C144-F056DAEF997D}"/>
          </ac:grpSpMkLst>
        </pc:grpChg>
        <pc:grpChg chg="add mod">
          <ac:chgData name="Ewen Trafford" userId="e520b4bf-a196-48b7-bc10-b1590a457daa" providerId="ADAL" clId="{40737E46-5C00-4D05-85D2-B2DFEF1BFC90}" dt="2022-08-10T10:32:31.040" v="3256" actId="1076"/>
          <ac:grpSpMkLst>
            <pc:docMk/>
            <pc:sldMk cId="2046763801" sldId="338"/>
            <ac:grpSpMk id="106" creationId="{F0B68C78-454C-2EDB-7F16-AC4ABFD3A663}"/>
          </ac:grpSpMkLst>
        </pc:grpChg>
        <pc:grpChg chg="mod">
          <ac:chgData name="Ewen Trafford" userId="e520b4bf-a196-48b7-bc10-b1590a457daa" providerId="ADAL" clId="{40737E46-5C00-4D05-85D2-B2DFEF1BFC90}" dt="2022-08-10T07:48:26.902" v="2279" actId="164"/>
          <ac:grpSpMkLst>
            <pc:docMk/>
            <pc:sldMk cId="2046763801" sldId="338"/>
            <ac:grpSpMk id="113" creationId="{57FBC402-5561-650E-E32B-D78FBA92DAB2}"/>
          </ac:grpSpMkLst>
        </pc:grpChg>
        <pc:grpChg chg="mod">
          <ac:chgData name="Ewen Trafford" userId="e520b4bf-a196-48b7-bc10-b1590a457daa" providerId="ADAL" clId="{40737E46-5C00-4D05-85D2-B2DFEF1BFC90}" dt="2022-08-10T07:48:26.902" v="2279" actId="164"/>
          <ac:grpSpMkLst>
            <pc:docMk/>
            <pc:sldMk cId="2046763801" sldId="338"/>
            <ac:grpSpMk id="115" creationId="{54FFC13C-29F5-F709-17F4-A09DCBDFC7FC}"/>
          </ac:grpSpMkLst>
        </pc:grpChg>
        <pc:grpChg chg="del mod">
          <ac:chgData name="Ewen Trafford" userId="e520b4bf-a196-48b7-bc10-b1590a457daa" providerId="ADAL" clId="{40737E46-5C00-4D05-85D2-B2DFEF1BFC90}" dt="2022-08-10T07:44:35.084" v="2251"/>
          <ac:grpSpMkLst>
            <pc:docMk/>
            <pc:sldMk cId="2046763801" sldId="338"/>
            <ac:grpSpMk id="118" creationId="{3E35CCB5-1624-5B5C-3753-0C98B7C28863}"/>
          </ac:grpSpMkLst>
        </pc:grpChg>
        <pc:grpChg chg="del mod">
          <ac:chgData name="Ewen Trafford" userId="e520b4bf-a196-48b7-bc10-b1590a457daa" providerId="ADAL" clId="{40737E46-5C00-4D05-85D2-B2DFEF1BFC90}" dt="2022-08-10T07:44:39.154" v="2254"/>
          <ac:grpSpMkLst>
            <pc:docMk/>
            <pc:sldMk cId="2046763801" sldId="338"/>
            <ac:grpSpMk id="120" creationId="{F118E988-10FF-473A-B51B-24C700E441E0}"/>
          </ac:grpSpMkLst>
        </pc:grpChg>
        <pc:grpChg chg="del mod">
          <ac:chgData name="Ewen Trafford" userId="e520b4bf-a196-48b7-bc10-b1590a457daa" providerId="ADAL" clId="{40737E46-5C00-4D05-85D2-B2DFEF1BFC90}" dt="2022-08-10T07:44:40.279" v="2256"/>
          <ac:grpSpMkLst>
            <pc:docMk/>
            <pc:sldMk cId="2046763801" sldId="338"/>
            <ac:grpSpMk id="123" creationId="{47D93B49-876B-32D7-2F4C-3B59277B3BA5}"/>
          </ac:grpSpMkLst>
        </pc:grpChg>
        <pc:grpChg chg="mod">
          <ac:chgData name="Ewen Trafford" userId="e520b4bf-a196-48b7-bc10-b1590a457daa" providerId="ADAL" clId="{40737E46-5C00-4D05-85D2-B2DFEF1BFC90}" dt="2022-08-10T07:48:30.580" v="2280" actId="164"/>
          <ac:grpSpMkLst>
            <pc:docMk/>
            <pc:sldMk cId="2046763801" sldId="338"/>
            <ac:grpSpMk id="125" creationId="{A3A052F8-E341-DEC6-C5AB-DDBFAD2DF1FF}"/>
          </ac:grpSpMkLst>
        </pc:grpChg>
        <pc:grpChg chg="mod">
          <ac:chgData name="Ewen Trafford" userId="e520b4bf-a196-48b7-bc10-b1590a457daa" providerId="ADAL" clId="{40737E46-5C00-4D05-85D2-B2DFEF1BFC90}" dt="2022-08-10T07:48:30.580" v="2280" actId="164"/>
          <ac:grpSpMkLst>
            <pc:docMk/>
            <pc:sldMk cId="2046763801" sldId="338"/>
            <ac:grpSpMk id="129" creationId="{0C2B7C11-1DC0-7C40-3A38-27563B7A87BD}"/>
          </ac:grpSpMkLst>
        </pc:grpChg>
        <pc:grpChg chg="add mod">
          <ac:chgData name="Ewen Trafford" userId="e520b4bf-a196-48b7-bc10-b1590a457daa" providerId="ADAL" clId="{40737E46-5C00-4D05-85D2-B2DFEF1BFC90}" dt="2022-08-10T10:32:31.040" v="3256" actId="1076"/>
          <ac:grpSpMkLst>
            <pc:docMk/>
            <pc:sldMk cId="2046763801" sldId="338"/>
            <ac:grpSpMk id="139" creationId="{9656E0ED-E4B1-48A7-A1E1-B5C584C397F2}"/>
          </ac:grpSpMkLst>
        </pc:grpChg>
        <pc:grpChg chg="add mod">
          <ac:chgData name="Ewen Trafford" userId="e520b4bf-a196-48b7-bc10-b1590a457daa" providerId="ADAL" clId="{40737E46-5C00-4D05-85D2-B2DFEF1BFC90}" dt="2022-08-10T10:32:31.040" v="3256" actId="1076"/>
          <ac:grpSpMkLst>
            <pc:docMk/>
            <pc:sldMk cId="2046763801" sldId="338"/>
            <ac:grpSpMk id="140" creationId="{2FD233F6-BD1D-8A39-48C2-18F6B49520F3}"/>
          </ac:grpSpMkLst>
        </pc:grpChg>
        <pc:grpChg chg="add mod">
          <ac:chgData name="Ewen Trafford" userId="e520b4bf-a196-48b7-bc10-b1590a457daa" providerId="ADAL" clId="{40737E46-5C00-4D05-85D2-B2DFEF1BFC90}" dt="2022-08-10T10:32:31.040" v="3256" actId="1076"/>
          <ac:grpSpMkLst>
            <pc:docMk/>
            <pc:sldMk cId="2046763801" sldId="338"/>
            <ac:grpSpMk id="143" creationId="{84DF9479-775C-1D8A-3077-6E0810B570AD}"/>
          </ac:grpSpMkLst>
        </pc:grpChg>
        <pc:grpChg chg="mod">
          <ac:chgData name="Ewen Trafford" userId="e520b4bf-a196-48b7-bc10-b1590a457daa" providerId="ADAL" clId="{40737E46-5C00-4D05-85D2-B2DFEF1BFC90}" dt="2022-08-10T08:18:33.938" v="2336"/>
          <ac:grpSpMkLst>
            <pc:docMk/>
            <pc:sldMk cId="2046763801" sldId="338"/>
            <ac:grpSpMk id="144" creationId="{A7B8C442-43DB-BF0D-93CB-1E66B5E28B66}"/>
          </ac:grpSpMkLst>
        </pc:grpChg>
        <pc:grpChg chg="mod">
          <ac:chgData name="Ewen Trafford" userId="e520b4bf-a196-48b7-bc10-b1590a457daa" providerId="ADAL" clId="{40737E46-5C00-4D05-85D2-B2DFEF1BFC90}" dt="2022-08-10T08:18:33.938" v="2336"/>
          <ac:grpSpMkLst>
            <pc:docMk/>
            <pc:sldMk cId="2046763801" sldId="338"/>
            <ac:grpSpMk id="145" creationId="{23052630-44BA-BCE2-D0D9-2DE4A638971A}"/>
          </ac:grpSpMkLst>
        </pc:grpChg>
        <pc:grpChg chg="add mod">
          <ac:chgData name="Ewen Trafford" userId="e520b4bf-a196-48b7-bc10-b1590a457daa" providerId="ADAL" clId="{40737E46-5C00-4D05-85D2-B2DFEF1BFC90}" dt="2022-08-10T10:32:31.040" v="3256" actId="1076"/>
          <ac:grpSpMkLst>
            <pc:docMk/>
            <pc:sldMk cId="2046763801" sldId="338"/>
            <ac:grpSpMk id="150" creationId="{F6FE0FB1-A95B-EC60-2802-8F15DFB47855}"/>
          </ac:grpSpMkLst>
        </pc:grpChg>
        <pc:grpChg chg="mod">
          <ac:chgData name="Ewen Trafford" userId="e520b4bf-a196-48b7-bc10-b1590a457daa" providerId="ADAL" clId="{40737E46-5C00-4D05-85D2-B2DFEF1BFC90}" dt="2022-08-10T08:18:49.310" v="2340"/>
          <ac:grpSpMkLst>
            <pc:docMk/>
            <pc:sldMk cId="2046763801" sldId="338"/>
            <ac:grpSpMk id="154" creationId="{54BD9C73-3B62-E1D7-8DB4-CA603553C082}"/>
          </ac:grpSpMkLst>
        </pc:grpChg>
        <pc:grpChg chg="mod">
          <ac:chgData name="Ewen Trafford" userId="e520b4bf-a196-48b7-bc10-b1590a457daa" providerId="ADAL" clId="{40737E46-5C00-4D05-85D2-B2DFEF1BFC90}" dt="2022-08-10T08:18:49.310" v="2340"/>
          <ac:grpSpMkLst>
            <pc:docMk/>
            <pc:sldMk cId="2046763801" sldId="338"/>
            <ac:grpSpMk id="155" creationId="{583153CB-64CF-52D9-E944-AD9090B2EC5B}"/>
          </ac:grpSpMkLst>
        </pc:grpChg>
        <pc:grpChg chg="add del mod">
          <ac:chgData name="Ewen Trafford" userId="e520b4bf-a196-48b7-bc10-b1590a457daa" providerId="ADAL" clId="{40737E46-5C00-4D05-85D2-B2DFEF1BFC90}" dt="2022-08-10T08:30:03.088" v="2357"/>
          <ac:grpSpMkLst>
            <pc:docMk/>
            <pc:sldMk cId="2046763801" sldId="338"/>
            <ac:grpSpMk id="162" creationId="{43320635-446E-B047-5D7F-38C010884350}"/>
          </ac:grpSpMkLst>
        </pc:grpChg>
        <pc:grpChg chg="mod">
          <ac:chgData name="Ewen Trafford" userId="e520b4bf-a196-48b7-bc10-b1590a457daa" providerId="ADAL" clId="{40737E46-5C00-4D05-85D2-B2DFEF1BFC90}" dt="2022-08-10T08:29:58.463" v="2354"/>
          <ac:grpSpMkLst>
            <pc:docMk/>
            <pc:sldMk cId="2046763801" sldId="338"/>
            <ac:grpSpMk id="166" creationId="{0EB1D2A4-C512-80E8-7CF8-8F67CD21DA5D}"/>
          </ac:grpSpMkLst>
        </pc:grpChg>
        <pc:grpChg chg="add del mod">
          <ac:chgData name="Ewen Trafford" userId="e520b4bf-a196-48b7-bc10-b1590a457daa" providerId="ADAL" clId="{40737E46-5C00-4D05-85D2-B2DFEF1BFC90}" dt="2022-08-10T08:30:30.627" v="2367" actId="478"/>
          <ac:grpSpMkLst>
            <pc:docMk/>
            <pc:sldMk cId="2046763801" sldId="338"/>
            <ac:grpSpMk id="169" creationId="{24066C01-A807-D3EE-0114-A95FF393E6F8}"/>
          </ac:grpSpMkLst>
        </pc:grpChg>
        <pc:grpChg chg="del mod">
          <ac:chgData name="Ewen Trafford" userId="e520b4bf-a196-48b7-bc10-b1590a457daa" providerId="ADAL" clId="{40737E46-5C00-4D05-85D2-B2DFEF1BFC90}" dt="2022-08-10T08:30:16.886" v="2361" actId="478"/>
          <ac:grpSpMkLst>
            <pc:docMk/>
            <pc:sldMk cId="2046763801" sldId="338"/>
            <ac:grpSpMk id="174" creationId="{DABF6A48-F4E8-7BB3-BB29-3C6960BCBE01}"/>
          </ac:grpSpMkLst>
        </pc:grpChg>
        <pc:grpChg chg="del mod">
          <ac:chgData name="Ewen Trafford" userId="e520b4bf-a196-48b7-bc10-b1590a457daa" providerId="ADAL" clId="{40737E46-5C00-4D05-85D2-B2DFEF1BFC90}" dt="2022-08-10T08:30:21.087" v="2363" actId="478"/>
          <ac:grpSpMkLst>
            <pc:docMk/>
            <pc:sldMk cId="2046763801" sldId="338"/>
            <ac:grpSpMk id="175" creationId="{2818631D-C783-1071-E65C-85DCFEF9F01F}"/>
          </ac:grpSpMkLst>
        </pc:grpChg>
        <pc:grpChg chg="add del mod">
          <ac:chgData name="Ewen Trafford" userId="e520b4bf-a196-48b7-bc10-b1590a457daa" providerId="ADAL" clId="{40737E46-5C00-4D05-85D2-B2DFEF1BFC90}" dt="2022-08-10T08:31:58.786" v="2389" actId="478"/>
          <ac:grpSpMkLst>
            <pc:docMk/>
            <pc:sldMk cId="2046763801" sldId="338"/>
            <ac:grpSpMk id="183" creationId="{0D88A524-6BFC-8E78-EDC6-E663756F02D4}"/>
          </ac:grpSpMkLst>
        </pc:grpChg>
        <pc:grpChg chg="add del mod">
          <ac:chgData name="Ewen Trafford" userId="e520b4bf-a196-48b7-bc10-b1590a457daa" providerId="ADAL" clId="{40737E46-5C00-4D05-85D2-B2DFEF1BFC90}" dt="2022-08-10T10:11:50" v="2718"/>
          <ac:grpSpMkLst>
            <pc:docMk/>
            <pc:sldMk cId="2046763801" sldId="338"/>
            <ac:grpSpMk id="207" creationId="{151031BA-636C-A683-32EA-423AAC6B9A78}"/>
          </ac:grpSpMkLst>
        </pc:grpChg>
        <pc:grpChg chg="add del mod">
          <ac:chgData name="Ewen Trafford" userId="e520b4bf-a196-48b7-bc10-b1590a457daa" providerId="ADAL" clId="{40737E46-5C00-4D05-85D2-B2DFEF1BFC90}" dt="2022-08-10T10:17:15.917" v="2821" actId="478"/>
          <ac:grpSpMkLst>
            <pc:docMk/>
            <pc:sldMk cId="2046763801" sldId="338"/>
            <ac:grpSpMk id="214" creationId="{69D3B280-4B4C-F625-B072-563F493728A3}"/>
          </ac:grpSpMkLst>
        </pc:grpChg>
        <pc:grpChg chg="del mod">
          <ac:chgData name="Ewen Trafford" userId="e520b4bf-a196-48b7-bc10-b1590a457daa" providerId="ADAL" clId="{40737E46-5C00-4D05-85D2-B2DFEF1BFC90}" dt="2022-08-10T10:13:21.706" v="2746" actId="478"/>
          <ac:grpSpMkLst>
            <pc:docMk/>
            <pc:sldMk cId="2046763801" sldId="338"/>
            <ac:grpSpMk id="219" creationId="{CCC58585-0A8A-6302-F288-8875F1594DC0}"/>
          </ac:grpSpMkLst>
        </pc:grpChg>
        <pc:grpChg chg="mod">
          <ac:chgData name="Ewen Trafford" userId="e520b4bf-a196-48b7-bc10-b1590a457daa" providerId="ADAL" clId="{40737E46-5C00-4D05-85D2-B2DFEF1BFC90}" dt="2022-08-10T10:12:44.178" v="2739"/>
          <ac:grpSpMkLst>
            <pc:docMk/>
            <pc:sldMk cId="2046763801" sldId="338"/>
            <ac:grpSpMk id="220" creationId="{5C563D27-7929-9110-4D3D-FE54F6AA585B}"/>
          </ac:grpSpMkLst>
        </pc:grpChg>
        <pc:grpChg chg="add del mod">
          <ac:chgData name="Ewen Trafford" userId="e520b4bf-a196-48b7-bc10-b1590a457daa" providerId="ADAL" clId="{40737E46-5C00-4D05-85D2-B2DFEF1BFC90}" dt="2022-08-10T10:29:18.930" v="3205" actId="165"/>
          <ac:grpSpMkLst>
            <pc:docMk/>
            <pc:sldMk cId="2046763801" sldId="338"/>
            <ac:grpSpMk id="258" creationId="{D8985F1E-26FE-18E3-EFD0-40582CCD569D}"/>
          </ac:grpSpMkLst>
        </pc:grpChg>
        <pc:grpChg chg="add del mod topLvl">
          <ac:chgData name="Ewen Trafford" userId="e520b4bf-a196-48b7-bc10-b1590a457daa" providerId="ADAL" clId="{40737E46-5C00-4D05-85D2-B2DFEF1BFC90}" dt="2022-08-10T10:35:27.516" v="3302" actId="164"/>
          <ac:grpSpMkLst>
            <pc:docMk/>
            <pc:sldMk cId="2046763801" sldId="338"/>
            <ac:grpSpMk id="263" creationId="{6EF08541-54FC-39D2-79F1-18104C9C340C}"/>
          </ac:grpSpMkLst>
        </pc:grpChg>
        <pc:grpChg chg="del mod topLvl">
          <ac:chgData name="Ewen Trafford" userId="e520b4bf-a196-48b7-bc10-b1590a457daa" providerId="ADAL" clId="{40737E46-5C00-4D05-85D2-B2DFEF1BFC90}" dt="2022-08-10T10:32:37.912" v="3259" actId="478"/>
          <ac:grpSpMkLst>
            <pc:docMk/>
            <pc:sldMk cId="2046763801" sldId="338"/>
            <ac:grpSpMk id="264" creationId="{1AEAB9C0-4D99-8196-AE47-9441B62D609D}"/>
          </ac:grpSpMkLst>
        </pc:grpChg>
        <pc:grpChg chg="add del mod">
          <ac:chgData name="Ewen Trafford" userId="e520b4bf-a196-48b7-bc10-b1590a457daa" providerId="ADAL" clId="{40737E46-5C00-4D05-85D2-B2DFEF1BFC90}" dt="2022-08-10T10:35:27.516" v="3302" actId="164"/>
          <ac:grpSpMkLst>
            <pc:docMk/>
            <pc:sldMk cId="2046763801" sldId="338"/>
            <ac:grpSpMk id="269" creationId="{F9307EFC-5ABE-8106-E3FC-D0A214ED52D1}"/>
          </ac:grpSpMkLst>
        </pc:grpChg>
        <pc:grpChg chg="add del mod">
          <ac:chgData name="Ewen Trafford" userId="e520b4bf-a196-48b7-bc10-b1590a457daa" providerId="ADAL" clId="{40737E46-5C00-4D05-85D2-B2DFEF1BFC90}" dt="2022-08-10T10:33:50.621" v="3274"/>
          <ac:grpSpMkLst>
            <pc:docMk/>
            <pc:sldMk cId="2046763801" sldId="338"/>
            <ac:grpSpMk id="286" creationId="{4F9E75F5-301E-B40C-A181-FD028CBD61C2}"/>
          </ac:grpSpMkLst>
        </pc:grpChg>
        <pc:grpChg chg="add del mod">
          <ac:chgData name="Ewen Trafford" userId="e520b4bf-a196-48b7-bc10-b1590a457daa" providerId="ADAL" clId="{40737E46-5C00-4D05-85D2-B2DFEF1BFC90}" dt="2022-08-10T10:34:23.049" v="3286"/>
          <ac:grpSpMkLst>
            <pc:docMk/>
            <pc:sldMk cId="2046763801" sldId="338"/>
            <ac:grpSpMk id="299" creationId="{ED80666A-296A-568F-FAFF-F5BE488358F3}"/>
          </ac:grpSpMkLst>
        </pc:grpChg>
        <pc:grpChg chg="add mod">
          <ac:chgData name="Ewen Trafford" userId="e520b4bf-a196-48b7-bc10-b1590a457daa" providerId="ADAL" clId="{40737E46-5C00-4D05-85D2-B2DFEF1BFC90}" dt="2022-08-10T10:34:35.960" v="3290" actId="1076"/>
          <ac:grpSpMkLst>
            <pc:docMk/>
            <pc:sldMk cId="2046763801" sldId="338"/>
            <ac:grpSpMk id="312" creationId="{18D0707F-2208-1C07-7F28-A9373300C771}"/>
          </ac:grpSpMkLst>
        </pc:grpChg>
        <pc:grpChg chg="add mod">
          <ac:chgData name="Ewen Trafford" userId="e520b4bf-a196-48b7-bc10-b1590a457daa" providerId="ADAL" clId="{40737E46-5C00-4D05-85D2-B2DFEF1BFC90}" dt="2022-08-10T10:36:00.729" v="3307" actId="164"/>
          <ac:grpSpMkLst>
            <pc:docMk/>
            <pc:sldMk cId="2046763801" sldId="338"/>
            <ac:grpSpMk id="318" creationId="{49E142E2-7BFF-6101-89CC-605122BEB7CF}"/>
          </ac:grpSpMkLst>
        </pc:grpChg>
        <pc:grpChg chg="add mod">
          <ac:chgData name="Ewen Trafford" userId="e520b4bf-a196-48b7-bc10-b1590a457daa" providerId="ADAL" clId="{40737E46-5C00-4D05-85D2-B2DFEF1BFC90}" dt="2022-08-10T10:36:00.729" v="3307" actId="164"/>
          <ac:grpSpMkLst>
            <pc:docMk/>
            <pc:sldMk cId="2046763801" sldId="338"/>
            <ac:grpSpMk id="319" creationId="{1A388AE9-15A9-54AA-0855-E5B817E9736D}"/>
          </ac:grpSpMkLst>
        </pc:grpChg>
        <pc:grpChg chg="add del mod">
          <ac:chgData name="Ewen Trafford" userId="e520b4bf-a196-48b7-bc10-b1590a457daa" providerId="ADAL" clId="{40737E46-5C00-4D05-85D2-B2DFEF1BFC90}" dt="2022-08-10T10:38:50.570" v="3366" actId="1076"/>
          <ac:grpSpMkLst>
            <pc:docMk/>
            <pc:sldMk cId="2046763801" sldId="338"/>
            <ac:grpSpMk id="320" creationId="{88A8F43F-FD71-FA9E-5C98-53850C4587E7}"/>
          </ac:grpSpMkLst>
        </pc:grpChg>
        <pc:grpChg chg="mod">
          <ac:chgData name="Ewen Trafford" userId="e520b4bf-a196-48b7-bc10-b1590a457daa" providerId="ADAL" clId="{40737E46-5C00-4D05-85D2-B2DFEF1BFC90}" dt="2022-08-10T10:36:05.203" v="3308"/>
          <ac:grpSpMkLst>
            <pc:docMk/>
            <pc:sldMk cId="2046763801" sldId="338"/>
            <ac:grpSpMk id="322" creationId="{87101C88-045F-4B79-23F8-DE51C348B6B8}"/>
          </ac:grpSpMkLst>
        </pc:grpChg>
        <pc:grpChg chg="del mod">
          <ac:chgData name="Ewen Trafford" userId="e520b4bf-a196-48b7-bc10-b1590a457daa" providerId="ADAL" clId="{40737E46-5C00-4D05-85D2-B2DFEF1BFC90}" dt="2022-08-10T10:36:21.069" v="3317" actId="478"/>
          <ac:grpSpMkLst>
            <pc:docMk/>
            <pc:sldMk cId="2046763801" sldId="338"/>
            <ac:grpSpMk id="342" creationId="{58F6E579-92F3-A758-A05D-A6E0D206D8E1}"/>
          </ac:grpSpMkLst>
        </pc:grpChg>
        <pc:grpChg chg="mod">
          <ac:chgData name="Ewen Trafford" userId="e520b4bf-a196-48b7-bc10-b1590a457daa" providerId="ADAL" clId="{40737E46-5C00-4D05-85D2-B2DFEF1BFC90}" dt="2022-08-10T10:36:05.203" v="3308"/>
          <ac:grpSpMkLst>
            <pc:docMk/>
            <pc:sldMk cId="2046763801" sldId="338"/>
            <ac:grpSpMk id="343" creationId="{2A06E12D-0D77-60C5-C2B8-005543D9185C}"/>
          </ac:grpSpMkLst>
        </pc:grpChg>
        <pc:picChg chg="add del mod">
          <ac:chgData name="Ewen Trafford" userId="e520b4bf-a196-48b7-bc10-b1590a457daa" providerId="ADAL" clId="{40737E46-5C00-4D05-85D2-B2DFEF1BFC90}" dt="2022-08-10T10:32:53.531" v="3264" actId="1076"/>
          <ac:picMkLst>
            <pc:docMk/>
            <pc:sldMk cId="2046763801" sldId="338"/>
            <ac:picMk id="213" creationId="{398D64F0-6FAE-9476-C049-C6C6507522B7}"/>
          </ac:picMkLst>
        </pc:picChg>
        <pc:picChg chg="add del mod">
          <ac:chgData name="Ewen Trafford" userId="e520b4bf-a196-48b7-bc10-b1590a457daa" providerId="ADAL" clId="{40737E46-5C00-4D05-85D2-B2DFEF1BFC90}" dt="2022-08-10T10:32:53.531" v="3264" actId="1076"/>
          <ac:picMkLst>
            <pc:docMk/>
            <pc:sldMk cId="2046763801" sldId="338"/>
            <ac:picMk id="232" creationId="{F505F207-0E58-7F52-3CD7-39AA19839CE7}"/>
          </ac:picMkLst>
        </pc:picChg>
        <pc:inkChg chg="add mod">
          <ac:chgData name="Ewen Trafford" userId="e520b4bf-a196-48b7-bc10-b1590a457daa" providerId="ADAL" clId="{40737E46-5C00-4D05-85D2-B2DFEF1BFC90}" dt="2022-08-10T10:32:31.040" v="3256" actId="1076"/>
          <ac:inkMkLst>
            <pc:docMk/>
            <pc:sldMk cId="2046763801" sldId="338"/>
            <ac:inkMk id="74" creationId="{CDACC5A2-33A8-79DE-76D7-E2E613EBF38F}"/>
          </ac:inkMkLst>
        </pc:inkChg>
        <pc:inkChg chg="add del mod">
          <ac:chgData name="Ewen Trafford" userId="e520b4bf-a196-48b7-bc10-b1590a457daa" providerId="ADAL" clId="{40737E46-5C00-4D05-85D2-B2DFEF1BFC90}" dt="2022-08-10T07:41:57.703" v="2165"/>
          <ac:inkMkLst>
            <pc:docMk/>
            <pc:sldMk cId="2046763801" sldId="338"/>
            <ac:inkMk id="75" creationId="{F5916261-CEFC-DD93-F148-AE5FE044A597}"/>
          </ac:inkMkLst>
        </pc:inkChg>
        <pc:inkChg chg="add del mod">
          <ac:chgData name="Ewen Trafford" userId="e520b4bf-a196-48b7-bc10-b1590a457daa" providerId="ADAL" clId="{40737E46-5C00-4D05-85D2-B2DFEF1BFC90}" dt="2022-08-10T07:41:24.372" v="2150"/>
          <ac:inkMkLst>
            <pc:docMk/>
            <pc:sldMk cId="2046763801" sldId="338"/>
            <ac:inkMk id="76" creationId="{C0BCD5FC-143E-11C8-13B2-42FF674D11B8}"/>
          </ac:inkMkLst>
        </pc:inkChg>
        <pc:inkChg chg="add mod">
          <ac:chgData name="Ewen Trafford" userId="e520b4bf-a196-48b7-bc10-b1590a457daa" providerId="ADAL" clId="{40737E46-5C00-4D05-85D2-B2DFEF1BFC90}" dt="2022-08-10T07:41:57.703" v="2165"/>
          <ac:inkMkLst>
            <pc:docMk/>
            <pc:sldMk cId="2046763801" sldId="338"/>
            <ac:inkMk id="78" creationId="{CFF723EA-98EE-D5FC-08EF-D293AD2848BF}"/>
          </ac:inkMkLst>
        </pc:inkChg>
        <pc:inkChg chg="add del mod">
          <ac:chgData name="Ewen Trafford" userId="e520b4bf-a196-48b7-bc10-b1590a457daa" providerId="ADAL" clId="{40737E46-5C00-4D05-85D2-B2DFEF1BFC90}" dt="2022-08-10T07:41:35.843" v="2156"/>
          <ac:inkMkLst>
            <pc:docMk/>
            <pc:sldMk cId="2046763801" sldId="338"/>
            <ac:inkMk id="80" creationId="{0FE7BDB4-C410-ED92-DB82-6A91B88D7E7D}"/>
          </ac:inkMkLst>
        </pc:inkChg>
        <pc:inkChg chg="add mod">
          <ac:chgData name="Ewen Trafford" userId="e520b4bf-a196-48b7-bc10-b1590a457daa" providerId="ADAL" clId="{40737E46-5C00-4D05-85D2-B2DFEF1BFC90}" dt="2022-08-10T07:41:57.703" v="2165"/>
          <ac:inkMkLst>
            <pc:docMk/>
            <pc:sldMk cId="2046763801" sldId="338"/>
            <ac:inkMk id="82" creationId="{D753EEFF-1653-819E-14D9-7FD4084BC8C8}"/>
          </ac:inkMkLst>
        </pc:inkChg>
        <pc:inkChg chg="add del mod">
          <ac:chgData name="Ewen Trafford" userId="e520b4bf-a196-48b7-bc10-b1590a457daa" providerId="ADAL" clId="{40737E46-5C00-4D05-85D2-B2DFEF1BFC90}" dt="2022-08-10T07:41:57.703" v="2165"/>
          <ac:inkMkLst>
            <pc:docMk/>
            <pc:sldMk cId="2046763801" sldId="338"/>
            <ac:inkMk id="83" creationId="{11200C1E-E159-E12C-3EAB-1B640279CC37}"/>
          </ac:inkMkLst>
        </pc:inkChg>
        <pc:inkChg chg="add mod">
          <ac:chgData name="Ewen Trafford" userId="e520b4bf-a196-48b7-bc10-b1590a457daa" providerId="ADAL" clId="{40737E46-5C00-4D05-85D2-B2DFEF1BFC90}" dt="2022-08-10T07:41:57.703" v="2165"/>
          <ac:inkMkLst>
            <pc:docMk/>
            <pc:sldMk cId="2046763801" sldId="338"/>
            <ac:inkMk id="85" creationId="{5D414A84-3ED2-EDC5-D916-17E50F2C1F8C}"/>
          </ac:inkMkLst>
        </pc:inkChg>
        <pc:inkChg chg="add del mod">
          <ac:chgData name="Ewen Trafford" userId="e520b4bf-a196-48b7-bc10-b1590a457daa" providerId="ADAL" clId="{40737E46-5C00-4D05-85D2-B2DFEF1BFC90}" dt="2022-08-10T07:41:38.493" v="2157"/>
          <ac:inkMkLst>
            <pc:docMk/>
            <pc:sldMk cId="2046763801" sldId="338"/>
            <ac:inkMk id="87" creationId="{30D8EC2B-9F69-CD86-DE75-ECD0222369BA}"/>
          </ac:inkMkLst>
        </pc:inkChg>
        <pc:inkChg chg="add del mod">
          <ac:chgData name="Ewen Trafford" userId="e520b4bf-a196-48b7-bc10-b1590a457daa" providerId="ADAL" clId="{40737E46-5C00-4D05-85D2-B2DFEF1BFC90}" dt="2022-08-10T07:41:41.306" v="2160"/>
          <ac:inkMkLst>
            <pc:docMk/>
            <pc:sldMk cId="2046763801" sldId="338"/>
            <ac:inkMk id="88" creationId="{59D02A75-8B14-05DE-4C3F-2094D473F794}"/>
          </ac:inkMkLst>
        </pc:inkChg>
        <pc:inkChg chg="add del mod">
          <ac:chgData name="Ewen Trafford" userId="e520b4bf-a196-48b7-bc10-b1590a457daa" providerId="ADAL" clId="{40737E46-5C00-4D05-85D2-B2DFEF1BFC90}" dt="2022-08-10T07:41:27.773" v="2152"/>
          <ac:inkMkLst>
            <pc:docMk/>
            <pc:sldMk cId="2046763801" sldId="338"/>
            <ac:inkMk id="90" creationId="{610908BD-55BD-CC2C-7365-73439A1498CF}"/>
          </ac:inkMkLst>
        </pc:inkChg>
        <pc:inkChg chg="add del mod">
          <ac:chgData name="Ewen Trafford" userId="e520b4bf-a196-48b7-bc10-b1590a457daa" providerId="ADAL" clId="{40737E46-5C00-4D05-85D2-B2DFEF1BFC90}" dt="2022-08-10T07:41:26.785" v="2151"/>
          <ac:inkMkLst>
            <pc:docMk/>
            <pc:sldMk cId="2046763801" sldId="338"/>
            <ac:inkMk id="91" creationId="{1E7CD79E-1BD0-A0E6-29AD-486DF08DD3F0}"/>
          </ac:inkMkLst>
        </pc:inkChg>
        <pc:inkChg chg="add del mod">
          <ac:chgData name="Ewen Trafford" userId="e520b4bf-a196-48b7-bc10-b1590a457daa" providerId="ADAL" clId="{40737E46-5C00-4D05-85D2-B2DFEF1BFC90}" dt="2022-08-10T07:41:28.713" v="2153"/>
          <ac:inkMkLst>
            <pc:docMk/>
            <pc:sldMk cId="2046763801" sldId="338"/>
            <ac:inkMk id="92" creationId="{E8853F20-FEC4-CAE9-4BEE-6C8129EA71E6}"/>
          </ac:inkMkLst>
        </pc:inkChg>
        <pc:inkChg chg="add mod">
          <ac:chgData name="Ewen Trafford" userId="e520b4bf-a196-48b7-bc10-b1590a457daa" providerId="ADAL" clId="{40737E46-5C00-4D05-85D2-B2DFEF1BFC90}" dt="2022-08-10T07:41:57.703" v="2165"/>
          <ac:inkMkLst>
            <pc:docMk/>
            <pc:sldMk cId="2046763801" sldId="338"/>
            <ac:inkMk id="93" creationId="{0BF645B8-D520-CD22-909E-DD255184CDEE}"/>
          </ac:inkMkLst>
        </pc:inkChg>
        <pc:inkChg chg="add del mod">
          <ac:chgData name="Ewen Trafford" userId="e520b4bf-a196-48b7-bc10-b1590a457daa" providerId="ADAL" clId="{40737E46-5C00-4D05-85D2-B2DFEF1BFC90}" dt="2022-08-10T07:41:11.808" v="2147"/>
          <ac:inkMkLst>
            <pc:docMk/>
            <pc:sldMk cId="2046763801" sldId="338"/>
            <ac:inkMk id="95" creationId="{313FBADE-E162-FAEF-1CFA-CFC8833ACAF5}"/>
          </ac:inkMkLst>
        </pc:inkChg>
        <pc:inkChg chg="add del mod">
          <ac:chgData name="Ewen Trafford" userId="e520b4bf-a196-48b7-bc10-b1590a457daa" providerId="ADAL" clId="{40737E46-5C00-4D05-85D2-B2DFEF1BFC90}" dt="2022-08-10T07:41:11.808" v="2147"/>
          <ac:inkMkLst>
            <pc:docMk/>
            <pc:sldMk cId="2046763801" sldId="338"/>
            <ac:inkMk id="96" creationId="{E8714884-7ABF-3744-F133-1D7DD5203586}"/>
          </ac:inkMkLst>
        </pc:inkChg>
        <pc:inkChg chg="add del mod">
          <ac:chgData name="Ewen Trafford" userId="e520b4bf-a196-48b7-bc10-b1590a457daa" providerId="ADAL" clId="{40737E46-5C00-4D05-85D2-B2DFEF1BFC90}" dt="2022-08-10T07:41:57.703" v="2165"/>
          <ac:inkMkLst>
            <pc:docMk/>
            <pc:sldMk cId="2046763801" sldId="338"/>
            <ac:inkMk id="97" creationId="{5BD50433-8FDA-C49F-14ED-513B9CE2A894}"/>
          </ac:inkMkLst>
        </pc:inkChg>
        <pc:inkChg chg="add del mod">
          <ac:chgData name="Ewen Trafford" userId="e520b4bf-a196-48b7-bc10-b1590a457daa" providerId="ADAL" clId="{40737E46-5C00-4D05-85D2-B2DFEF1BFC90}" dt="2022-08-10T07:41:57.703" v="2165"/>
          <ac:inkMkLst>
            <pc:docMk/>
            <pc:sldMk cId="2046763801" sldId="338"/>
            <ac:inkMk id="98" creationId="{D7218169-80FB-76A6-A39A-F9ECE12E2A11}"/>
          </ac:inkMkLst>
        </pc:inkChg>
        <pc:inkChg chg="add mod">
          <ac:chgData name="Ewen Trafford" userId="e520b4bf-a196-48b7-bc10-b1590a457daa" providerId="ADAL" clId="{40737E46-5C00-4D05-85D2-B2DFEF1BFC90}" dt="2022-08-10T07:41:57.703" v="2165"/>
          <ac:inkMkLst>
            <pc:docMk/>
            <pc:sldMk cId="2046763801" sldId="338"/>
            <ac:inkMk id="99" creationId="{CC339DB3-AF92-575A-39DD-1944E9C48578}"/>
          </ac:inkMkLst>
        </pc:inkChg>
        <pc:inkChg chg="add mod">
          <ac:chgData name="Ewen Trafford" userId="e520b4bf-a196-48b7-bc10-b1590a457daa" providerId="ADAL" clId="{40737E46-5C00-4D05-85D2-B2DFEF1BFC90}" dt="2022-08-10T07:41:57.703" v="2165"/>
          <ac:inkMkLst>
            <pc:docMk/>
            <pc:sldMk cId="2046763801" sldId="338"/>
            <ac:inkMk id="100" creationId="{87E1301A-C3D5-135A-CD48-A7B986A3B313}"/>
          </ac:inkMkLst>
        </pc:inkChg>
        <pc:inkChg chg="add mod">
          <ac:chgData name="Ewen Trafford" userId="e520b4bf-a196-48b7-bc10-b1590a457daa" providerId="ADAL" clId="{40737E46-5C00-4D05-85D2-B2DFEF1BFC90}" dt="2022-08-10T07:41:41.306" v="2160"/>
          <ac:inkMkLst>
            <pc:docMk/>
            <pc:sldMk cId="2046763801" sldId="338"/>
            <ac:inkMk id="101" creationId="{FD7BF48C-583A-DB1D-48ED-9E0C453BC24A}"/>
          </ac:inkMkLst>
        </pc:inkChg>
        <pc:inkChg chg="add del mod">
          <ac:chgData name="Ewen Trafford" userId="e520b4bf-a196-48b7-bc10-b1590a457daa" providerId="ADAL" clId="{40737E46-5C00-4D05-85D2-B2DFEF1BFC90}" dt="2022-08-10T07:41:41.306" v="2160"/>
          <ac:inkMkLst>
            <pc:docMk/>
            <pc:sldMk cId="2046763801" sldId="338"/>
            <ac:inkMk id="102" creationId="{21314152-7850-9E2D-463B-2ADC72C5927C}"/>
          </ac:inkMkLst>
        </pc:inkChg>
        <pc:inkChg chg="add del mod">
          <ac:chgData name="Ewen Trafford" userId="e520b4bf-a196-48b7-bc10-b1590a457daa" providerId="ADAL" clId="{40737E46-5C00-4D05-85D2-B2DFEF1BFC90}" dt="2022-08-10T07:41:41.306" v="2160"/>
          <ac:inkMkLst>
            <pc:docMk/>
            <pc:sldMk cId="2046763801" sldId="338"/>
            <ac:inkMk id="103" creationId="{C83AF62C-146D-4FC8-53A4-32871CF8D8CF}"/>
          </ac:inkMkLst>
        </pc:inkChg>
        <pc:inkChg chg="add del mod">
          <ac:chgData name="Ewen Trafford" userId="e520b4bf-a196-48b7-bc10-b1590a457daa" providerId="ADAL" clId="{40737E46-5C00-4D05-85D2-B2DFEF1BFC90}" dt="2022-08-10T07:41:53.135" v="2162"/>
          <ac:inkMkLst>
            <pc:docMk/>
            <pc:sldMk cId="2046763801" sldId="338"/>
            <ac:inkMk id="104" creationId="{EDB6EEC5-B85A-373E-B687-6CCBA477A849}"/>
          </ac:inkMkLst>
        </pc:inkChg>
        <pc:inkChg chg="add del mod">
          <ac:chgData name="Ewen Trafford" userId="e520b4bf-a196-48b7-bc10-b1590a457daa" providerId="ADAL" clId="{40737E46-5C00-4D05-85D2-B2DFEF1BFC90}" dt="2022-08-10T07:41:57.703" v="2165"/>
          <ac:inkMkLst>
            <pc:docMk/>
            <pc:sldMk cId="2046763801" sldId="338"/>
            <ac:inkMk id="105" creationId="{87D88C48-7E11-9374-629D-490FA6042799}"/>
          </ac:inkMkLst>
        </pc:inkChg>
        <pc:inkChg chg="add mod">
          <ac:chgData name="Ewen Trafford" userId="e520b4bf-a196-48b7-bc10-b1590a457daa" providerId="ADAL" clId="{40737E46-5C00-4D05-85D2-B2DFEF1BFC90}" dt="2022-08-10T07:44:19.394" v="2244"/>
          <ac:inkMkLst>
            <pc:docMk/>
            <pc:sldMk cId="2046763801" sldId="338"/>
            <ac:inkMk id="110" creationId="{C5E3AB13-C37A-A674-D5DE-25C1E5E1F53B}"/>
          </ac:inkMkLst>
        </pc:inkChg>
        <pc:inkChg chg="add mod">
          <ac:chgData name="Ewen Trafford" userId="e520b4bf-a196-48b7-bc10-b1590a457daa" providerId="ADAL" clId="{40737E46-5C00-4D05-85D2-B2DFEF1BFC90}" dt="2022-08-10T07:44:19.394" v="2244"/>
          <ac:inkMkLst>
            <pc:docMk/>
            <pc:sldMk cId="2046763801" sldId="338"/>
            <ac:inkMk id="111" creationId="{877BB031-48C5-82C9-DE0E-802F2EAEC275}"/>
          </ac:inkMkLst>
        </pc:inkChg>
        <pc:inkChg chg="add mod">
          <ac:chgData name="Ewen Trafford" userId="e520b4bf-a196-48b7-bc10-b1590a457daa" providerId="ADAL" clId="{40737E46-5C00-4D05-85D2-B2DFEF1BFC90}" dt="2022-08-10T07:44:20.984" v="2246"/>
          <ac:inkMkLst>
            <pc:docMk/>
            <pc:sldMk cId="2046763801" sldId="338"/>
            <ac:inkMk id="112" creationId="{98250D8C-4638-EBDD-9050-D58C0E08B6CA}"/>
          </ac:inkMkLst>
        </pc:inkChg>
        <pc:inkChg chg="add mod">
          <ac:chgData name="Ewen Trafford" userId="e520b4bf-a196-48b7-bc10-b1590a457daa" providerId="ADAL" clId="{40737E46-5C00-4D05-85D2-B2DFEF1BFC90}" dt="2022-08-10T07:44:20.984" v="2246"/>
          <ac:inkMkLst>
            <pc:docMk/>
            <pc:sldMk cId="2046763801" sldId="338"/>
            <ac:inkMk id="114" creationId="{41C25A1D-291A-7722-30AA-96A30C125B92}"/>
          </ac:inkMkLst>
        </pc:inkChg>
        <pc:inkChg chg="add del mod">
          <ac:chgData name="Ewen Trafford" userId="e520b4bf-a196-48b7-bc10-b1590a457daa" providerId="ADAL" clId="{40737E46-5C00-4D05-85D2-B2DFEF1BFC90}" dt="2022-08-10T07:48:30.580" v="2280" actId="164"/>
          <ac:inkMkLst>
            <pc:docMk/>
            <pc:sldMk cId="2046763801" sldId="338"/>
            <ac:inkMk id="116" creationId="{447F03AE-F181-47A8-676D-89EBCAA7481A}"/>
          </ac:inkMkLst>
        </pc:inkChg>
        <pc:inkChg chg="add del mod">
          <ac:chgData name="Ewen Trafford" userId="e520b4bf-a196-48b7-bc10-b1590a457daa" providerId="ADAL" clId="{40737E46-5C00-4D05-85D2-B2DFEF1BFC90}" dt="2022-08-10T07:48:30.580" v="2280" actId="164"/>
          <ac:inkMkLst>
            <pc:docMk/>
            <pc:sldMk cId="2046763801" sldId="338"/>
            <ac:inkMk id="117" creationId="{B0EEEBDB-E149-6EAF-811A-4A456DFB99ED}"/>
          </ac:inkMkLst>
        </pc:inkChg>
        <pc:inkChg chg="add del mod">
          <ac:chgData name="Ewen Trafford" userId="e520b4bf-a196-48b7-bc10-b1590a457daa" providerId="ADAL" clId="{40737E46-5C00-4D05-85D2-B2DFEF1BFC90}" dt="2022-08-10T07:44:58.670" v="2261"/>
          <ac:inkMkLst>
            <pc:docMk/>
            <pc:sldMk cId="2046763801" sldId="338"/>
            <ac:inkMk id="119" creationId="{49E289D5-B575-C5D2-A9CB-9697FAB5E9DE}"/>
          </ac:inkMkLst>
        </pc:inkChg>
        <pc:inkChg chg="add del mod">
          <ac:chgData name="Ewen Trafford" userId="e520b4bf-a196-48b7-bc10-b1590a457daa" providerId="ADAL" clId="{40737E46-5C00-4D05-85D2-B2DFEF1BFC90}" dt="2022-08-10T07:45:10.002" v="2271"/>
          <ac:inkMkLst>
            <pc:docMk/>
            <pc:sldMk cId="2046763801" sldId="338"/>
            <ac:inkMk id="121" creationId="{F5C95A9D-9040-50C5-90E2-8CC211BF1962}"/>
          </ac:inkMkLst>
        </pc:inkChg>
        <pc:inkChg chg="add mod">
          <ac:chgData name="Ewen Trafford" userId="e520b4bf-a196-48b7-bc10-b1590a457daa" providerId="ADAL" clId="{40737E46-5C00-4D05-85D2-B2DFEF1BFC90}" dt="2022-08-10T07:45:10.002" v="2271"/>
          <ac:inkMkLst>
            <pc:docMk/>
            <pc:sldMk cId="2046763801" sldId="338"/>
            <ac:inkMk id="122" creationId="{C4223492-6E6E-4BC5-9980-979480034861}"/>
          </ac:inkMkLst>
        </pc:inkChg>
        <pc:inkChg chg="add del mod">
          <ac:chgData name="Ewen Trafford" userId="e520b4bf-a196-48b7-bc10-b1590a457daa" providerId="ADAL" clId="{40737E46-5C00-4D05-85D2-B2DFEF1BFC90}" dt="2022-08-10T07:45:10.002" v="2271"/>
          <ac:inkMkLst>
            <pc:docMk/>
            <pc:sldMk cId="2046763801" sldId="338"/>
            <ac:inkMk id="124" creationId="{7CB1A32E-4401-65F5-B62D-8E828E6766FA}"/>
          </ac:inkMkLst>
        </pc:inkChg>
        <pc:inkChg chg="add mod">
          <ac:chgData name="Ewen Trafford" userId="e520b4bf-a196-48b7-bc10-b1590a457daa" providerId="ADAL" clId="{40737E46-5C00-4D05-85D2-B2DFEF1BFC90}" dt="2022-08-10T07:44:46.066" v="2260"/>
          <ac:inkMkLst>
            <pc:docMk/>
            <pc:sldMk cId="2046763801" sldId="338"/>
            <ac:inkMk id="126" creationId="{49C21B91-E7F4-F2A2-AE6D-E91729151FD1}"/>
          </ac:inkMkLst>
        </pc:inkChg>
        <pc:inkChg chg="add mod">
          <ac:chgData name="Ewen Trafford" userId="e520b4bf-a196-48b7-bc10-b1590a457daa" providerId="ADAL" clId="{40737E46-5C00-4D05-85D2-B2DFEF1BFC90}" dt="2022-08-10T07:44:46.066" v="2260"/>
          <ac:inkMkLst>
            <pc:docMk/>
            <pc:sldMk cId="2046763801" sldId="338"/>
            <ac:inkMk id="127" creationId="{BE5AD8FD-C5F6-18DB-B6AF-E6B6DF0B8B92}"/>
          </ac:inkMkLst>
        </pc:inkChg>
        <pc:inkChg chg="add mod">
          <ac:chgData name="Ewen Trafford" userId="e520b4bf-a196-48b7-bc10-b1590a457daa" providerId="ADAL" clId="{40737E46-5C00-4D05-85D2-B2DFEF1BFC90}" dt="2022-08-10T07:44:46.066" v="2260"/>
          <ac:inkMkLst>
            <pc:docMk/>
            <pc:sldMk cId="2046763801" sldId="338"/>
            <ac:inkMk id="128" creationId="{132C7873-A802-C07C-8354-0AF83B9E0804}"/>
          </ac:inkMkLst>
        </pc:inkChg>
        <pc:inkChg chg="add mod">
          <ac:chgData name="Ewen Trafford" userId="e520b4bf-a196-48b7-bc10-b1590a457daa" providerId="ADAL" clId="{40737E46-5C00-4D05-85D2-B2DFEF1BFC90}" dt="2022-08-10T07:48:30.580" v="2280" actId="164"/>
          <ac:inkMkLst>
            <pc:docMk/>
            <pc:sldMk cId="2046763801" sldId="338"/>
            <ac:inkMk id="130" creationId="{FD84AB9C-86C4-E893-51E5-4FA136FD5484}"/>
          </ac:inkMkLst>
        </pc:inkChg>
        <pc:inkChg chg="add del">
          <ac:chgData name="Ewen Trafford" userId="e520b4bf-a196-48b7-bc10-b1590a457daa" providerId="ADAL" clId="{40737E46-5C00-4D05-85D2-B2DFEF1BFC90}" dt="2022-08-10T07:45:01.715" v="2264"/>
          <ac:inkMkLst>
            <pc:docMk/>
            <pc:sldMk cId="2046763801" sldId="338"/>
            <ac:inkMk id="131" creationId="{CF96A4BB-E01C-005F-CD39-AA6F4C080675}"/>
          </ac:inkMkLst>
        </pc:inkChg>
        <pc:inkChg chg="add del">
          <ac:chgData name="Ewen Trafford" userId="e520b4bf-a196-48b7-bc10-b1590a457daa" providerId="ADAL" clId="{40737E46-5C00-4D05-85D2-B2DFEF1BFC90}" dt="2022-08-10T07:45:01.715" v="2264"/>
          <ac:inkMkLst>
            <pc:docMk/>
            <pc:sldMk cId="2046763801" sldId="338"/>
            <ac:inkMk id="132" creationId="{F36F4348-DABA-25AF-1948-D67F1BB7FE52}"/>
          </ac:inkMkLst>
        </pc:inkChg>
        <pc:inkChg chg="add del">
          <ac:chgData name="Ewen Trafford" userId="e520b4bf-a196-48b7-bc10-b1590a457daa" providerId="ADAL" clId="{40737E46-5C00-4D05-85D2-B2DFEF1BFC90}" dt="2022-08-10T07:45:03.220" v="2267"/>
          <ac:inkMkLst>
            <pc:docMk/>
            <pc:sldMk cId="2046763801" sldId="338"/>
            <ac:inkMk id="133" creationId="{49C1283F-A298-B350-158C-F3651DB5111D}"/>
          </ac:inkMkLst>
        </pc:inkChg>
        <pc:inkChg chg="add del">
          <ac:chgData name="Ewen Trafford" userId="e520b4bf-a196-48b7-bc10-b1590a457daa" providerId="ADAL" clId="{40737E46-5C00-4D05-85D2-B2DFEF1BFC90}" dt="2022-08-10T07:45:03.220" v="2267"/>
          <ac:inkMkLst>
            <pc:docMk/>
            <pc:sldMk cId="2046763801" sldId="338"/>
            <ac:inkMk id="134" creationId="{5C0A5284-5CAD-8502-9791-41B9B88C8F5D}"/>
          </ac:inkMkLst>
        </pc:inkChg>
        <pc:inkChg chg="add del mod">
          <ac:chgData name="Ewen Trafford" userId="e520b4bf-a196-48b7-bc10-b1590a457daa" providerId="ADAL" clId="{40737E46-5C00-4D05-85D2-B2DFEF1BFC90}" dt="2022-08-10T07:45:06.153" v="2270"/>
          <ac:inkMkLst>
            <pc:docMk/>
            <pc:sldMk cId="2046763801" sldId="338"/>
            <ac:inkMk id="135" creationId="{12A0E9D3-882E-54A1-F5FD-CF25B9BE1608}"/>
          </ac:inkMkLst>
        </pc:inkChg>
        <pc:inkChg chg="add del mod">
          <ac:chgData name="Ewen Trafford" userId="e520b4bf-a196-48b7-bc10-b1590a457daa" providerId="ADAL" clId="{40737E46-5C00-4D05-85D2-B2DFEF1BFC90}" dt="2022-08-10T07:45:06.153" v="2270"/>
          <ac:inkMkLst>
            <pc:docMk/>
            <pc:sldMk cId="2046763801" sldId="338"/>
            <ac:inkMk id="136" creationId="{8D449670-A047-7003-E54B-462D994BCBC5}"/>
          </ac:inkMkLst>
        </pc:inkChg>
        <pc:inkChg chg="add mod">
          <ac:chgData name="Ewen Trafford" userId="e520b4bf-a196-48b7-bc10-b1590a457daa" providerId="ADAL" clId="{40737E46-5C00-4D05-85D2-B2DFEF1BFC90}" dt="2022-08-10T07:45:10.002" v="2271"/>
          <ac:inkMkLst>
            <pc:docMk/>
            <pc:sldMk cId="2046763801" sldId="338"/>
            <ac:inkMk id="137" creationId="{C11931B2-AB60-B82A-3FB5-8BC5CE59D73A}"/>
          </ac:inkMkLst>
        </pc:inkChg>
        <pc:inkChg chg="mod">
          <ac:chgData name="Ewen Trafford" userId="e520b4bf-a196-48b7-bc10-b1590a457daa" providerId="ADAL" clId="{40737E46-5C00-4D05-85D2-B2DFEF1BFC90}" dt="2022-08-10T08:18:45.871" v="2339" actId="1076"/>
          <ac:inkMkLst>
            <pc:docMk/>
            <pc:sldMk cId="2046763801" sldId="338"/>
            <ac:inkMk id="146" creationId="{BA9CB0DD-A2BB-D3A3-1B82-AD9283BDA1A2}"/>
          </ac:inkMkLst>
        </pc:inkChg>
        <pc:inkChg chg="mod">
          <ac:chgData name="Ewen Trafford" userId="e520b4bf-a196-48b7-bc10-b1590a457daa" providerId="ADAL" clId="{40737E46-5C00-4D05-85D2-B2DFEF1BFC90}" dt="2022-08-10T08:18:40.375" v="2338" actId="1076"/>
          <ac:inkMkLst>
            <pc:docMk/>
            <pc:sldMk cId="2046763801" sldId="338"/>
            <ac:inkMk id="147" creationId="{95CA2B61-5EC6-1437-AA5E-4542DB68CF41}"/>
          </ac:inkMkLst>
        </pc:inkChg>
        <pc:inkChg chg="mod">
          <ac:chgData name="Ewen Trafford" userId="e520b4bf-a196-48b7-bc10-b1590a457daa" providerId="ADAL" clId="{40737E46-5C00-4D05-85D2-B2DFEF1BFC90}" dt="2022-08-10T08:18:33.938" v="2336"/>
          <ac:inkMkLst>
            <pc:docMk/>
            <pc:sldMk cId="2046763801" sldId="338"/>
            <ac:inkMk id="148" creationId="{C2D46166-82EF-B7E3-FF0E-215815EF06C5}"/>
          </ac:inkMkLst>
        </pc:inkChg>
        <pc:inkChg chg="mod">
          <ac:chgData name="Ewen Trafford" userId="e520b4bf-a196-48b7-bc10-b1590a457daa" providerId="ADAL" clId="{40737E46-5C00-4D05-85D2-B2DFEF1BFC90}" dt="2022-08-10T08:18:33.938" v="2336"/>
          <ac:inkMkLst>
            <pc:docMk/>
            <pc:sldMk cId="2046763801" sldId="338"/>
            <ac:inkMk id="149" creationId="{815F1EF2-24A8-4269-6DE3-E2D52522D7D6}"/>
          </ac:inkMkLst>
        </pc:inkChg>
        <pc:inkChg chg="mod">
          <ac:chgData name="Ewen Trafford" userId="e520b4bf-a196-48b7-bc10-b1590a457daa" providerId="ADAL" clId="{40737E46-5C00-4D05-85D2-B2DFEF1BFC90}" dt="2022-08-10T08:18:49.310" v="2340"/>
          <ac:inkMkLst>
            <pc:docMk/>
            <pc:sldMk cId="2046763801" sldId="338"/>
            <ac:inkMk id="151" creationId="{0A29A8BC-EFF1-94C4-1EFA-6A71B14FD63A}"/>
          </ac:inkMkLst>
        </pc:inkChg>
        <pc:inkChg chg="mod">
          <ac:chgData name="Ewen Trafford" userId="e520b4bf-a196-48b7-bc10-b1590a457daa" providerId="ADAL" clId="{40737E46-5C00-4D05-85D2-B2DFEF1BFC90}" dt="2022-08-10T08:18:49.310" v="2340"/>
          <ac:inkMkLst>
            <pc:docMk/>
            <pc:sldMk cId="2046763801" sldId="338"/>
            <ac:inkMk id="152" creationId="{DA7C3F1E-B4D4-4FE7-BF3E-1364AC0E3239}"/>
          </ac:inkMkLst>
        </pc:inkChg>
        <pc:inkChg chg="mod">
          <ac:chgData name="Ewen Trafford" userId="e520b4bf-a196-48b7-bc10-b1590a457daa" providerId="ADAL" clId="{40737E46-5C00-4D05-85D2-B2DFEF1BFC90}" dt="2022-08-10T08:18:49.310" v="2340"/>
          <ac:inkMkLst>
            <pc:docMk/>
            <pc:sldMk cId="2046763801" sldId="338"/>
            <ac:inkMk id="153" creationId="{295F0663-B05A-8FED-53CB-3E6B0623F9F5}"/>
          </ac:inkMkLst>
        </pc:inkChg>
        <pc:inkChg chg="mod">
          <ac:chgData name="Ewen Trafford" userId="e520b4bf-a196-48b7-bc10-b1590a457daa" providerId="ADAL" clId="{40737E46-5C00-4D05-85D2-B2DFEF1BFC90}" dt="2022-08-10T08:18:55.711" v="2342" actId="1076"/>
          <ac:inkMkLst>
            <pc:docMk/>
            <pc:sldMk cId="2046763801" sldId="338"/>
            <ac:inkMk id="156" creationId="{AC422758-4115-309A-0B83-12677A364A24}"/>
          </ac:inkMkLst>
        </pc:inkChg>
        <pc:inkChg chg="mod">
          <ac:chgData name="Ewen Trafford" userId="e520b4bf-a196-48b7-bc10-b1590a457daa" providerId="ADAL" clId="{40737E46-5C00-4D05-85D2-B2DFEF1BFC90}" dt="2022-08-10T08:18:59.529" v="2343" actId="1076"/>
          <ac:inkMkLst>
            <pc:docMk/>
            <pc:sldMk cId="2046763801" sldId="338"/>
            <ac:inkMk id="157" creationId="{688C113E-2EDB-D199-D08D-A0FD15B38906}"/>
          </ac:inkMkLst>
        </pc:inkChg>
        <pc:inkChg chg="mod">
          <ac:chgData name="Ewen Trafford" userId="e520b4bf-a196-48b7-bc10-b1590a457daa" providerId="ADAL" clId="{40737E46-5C00-4D05-85D2-B2DFEF1BFC90}" dt="2022-08-10T08:19:12.916" v="2344" actId="1076"/>
          <ac:inkMkLst>
            <pc:docMk/>
            <pc:sldMk cId="2046763801" sldId="338"/>
            <ac:inkMk id="158" creationId="{4A7DD636-DC63-21A0-667D-58B8062EA20C}"/>
          </ac:inkMkLst>
        </pc:inkChg>
        <pc:inkChg chg="mod">
          <ac:chgData name="Ewen Trafford" userId="e520b4bf-a196-48b7-bc10-b1590a457daa" providerId="ADAL" clId="{40737E46-5C00-4D05-85D2-B2DFEF1BFC90}" dt="2022-08-10T08:18:49.310" v="2340"/>
          <ac:inkMkLst>
            <pc:docMk/>
            <pc:sldMk cId="2046763801" sldId="338"/>
            <ac:inkMk id="159" creationId="{917A761E-BE9B-E7A9-B2DF-B5DFDA24F892}"/>
          </ac:inkMkLst>
        </pc:inkChg>
        <pc:inkChg chg="mod">
          <ac:chgData name="Ewen Trafford" userId="e520b4bf-a196-48b7-bc10-b1590a457daa" providerId="ADAL" clId="{40737E46-5C00-4D05-85D2-B2DFEF1BFC90}" dt="2022-08-10T08:18:49.310" v="2340"/>
          <ac:inkMkLst>
            <pc:docMk/>
            <pc:sldMk cId="2046763801" sldId="338"/>
            <ac:inkMk id="160" creationId="{EF84E1E0-B21D-77DB-0104-59F7368FEFE8}"/>
          </ac:inkMkLst>
        </pc:inkChg>
        <pc:inkChg chg="mod">
          <ac:chgData name="Ewen Trafford" userId="e520b4bf-a196-48b7-bc10-b1590a457daa" providerId="ADAL" clId="{40737E46-5C00-4D05-85D2-B2DFEF1BFC90}" dt="2022-08-10T08:18:49.310" v="2340"/>
          <ac:inkMkLst>
            <pc:docMk/>
            <pc:sldMk cId="2046763801" sldId="338"/>
            <ac:inkMk id="161" creationId="{D1321F86-4E52-30FD-415A-739F8EAF01D5}"/>
          </ac:inkMkLst>
        </pc:inkChg>
        <pc:cxnChg chg="mod">
          <ac:chgData name="Ewen Trafford" userId="e520b4bf-a196-48b7-bc10-b1590a457daa" providerId="ADAL" clId="{40737E46-5C00-4D05-85D2-B2DFEF1BFC90}" dt="2022-08-10T07:31:47.028" v="2007"/>
          <ac:cxnSpMkLst>
            <pc:docMk/>
            <pc:sldMk cId="2046763801" sldId="338"/>
            <ac:cxnSpMk id="8" creationId="{76C79307-830D-E151-A3CF-C25809C2B122}"/>
          </ac:cxnSpMkLst>
        </pc:cxnChg>
        <pc:cxnChg chg="mod">
          <ac:chgData name="Ewen Trafford" userId="e520b4bf-a196-48b7-bc10-b1590a457daa" providerId="ADAL" clId="{40737E46-5C00-4D05-85D2-B2DFEF1BFC90}" dt="2022-08-10T07:31:47.028" v="2007"/>
          <ac:cxnSpMkLst>
            <pc:docMk/>
            <pc:sldMk cId="2046763801" sldId="338"/>
            <ac:cxnSpMk id="14" creationId="{7D69F672-A33B-4C5D-9B70-E6A13631EB99}"/>
          </ac:cxnSpMkLst>
        </pc:cxnChg>
        <pc:cxnChg chg="mod">
          <ac:chgData name="Ewen Trafford" userId="e520b4bf-a196-48b7-bc10-b1590a457daa" providerId="ADAL" clId="{40737E46-5C00-4D05-85D2-B2DFEF1BFC90}" dt="2022-08-10T07:31:47.028" v="2007"/>
          <ac:cxnSpMkLst>
            <pc:docMk/>
            <pc:sldMk cId="2046763801" sldId="338"/>
            <ac:cxnSpMk id="15" creationId="{974FC665-F47C-54DC-0D3C-1C912CF1B5B6}"/>
          </ac:cxnSpMkLst>
        </pc:cxnChg>
        <pc:cxnChg chg="mod">
          <ac:chgData name="Ewen Trafford" userId="e520b4bf-a196-48b7-bc10-b1590a457daa" providerId="ADAL" clId="{40737E46-5C00-4D05-85D2-B2DFEF1BFC90}" dt="2022-08-10T07:31:47.028" v="2007"/>
          <ac:cxnSpMkLst>
            <pc:docMk/>
            <pc:sldMk cId="2046763801" sldId="338"/>
            <ac:cxnSpMk id="16" creationId="{CCEFDC96-3EA8-B244-4A2D-B49FFEDE9CC6}"/>
          </ac:cxnSpMkLst>
        </pc:cxnChg>
        <pc:cxnChg chg="mod">
          <ac:chgData name="Ewen Trafford" userId="e520b4bf-a196-48b7-bc10-b1590a457daa" providerId="ADAL" clId="{40737E46-5C00-4D05-85D2-B2DFEF1BFC90}" dt="2022-08-10T07:31:47.028" v="2007"/>
          <ac:cxnSpMkLst>
            <pc:docMk/>
            <pc:sldMk cId="2046763801" sldId="338"/>
            <ac:cxnSpMk id="17" creationId="{0871C682-D1FC-02E3-9196-3796E0DC50F5}"/>
          </ac:cxnSpMkLst>
        </pc:cxnChg>
        <pc:cxnChg chg="mod">
          <ac:chgData name="Ewen Trafford" userId="e520b4bf-a196-48b7-bc10-b1590a457daa" providerId="ADAL" clId="{40737E46-5C00-4D05-85D2-B2DFEF1BFC90}" dt="2022-08-10T07:31:47.028" v="2007"/>
          <ac:cxnSpMkLst>
            <pc:docMk/>
            <pc:sldMk cId="2046763801" sldId="338"/>
            <ac:cxnSpMk id="22" creationId="{3729E0AA-D02E-BECD-8340-08CCF9BB2FA5}"/>
          </ac:cxnSpMkLst>
        </pc:cxnChg>
        <pc:cxnChg chg="mod">
          <ac:chgData name="Ewen Trafford" userId="e520b4bf-a196-48b7-bc10-b1590a457daa" providerId="ADAL" clId="{40737E46-5C00-4D05-85D2-B2DFEF1BFC90}" dt="2022-08-10T07:31:47.028" v="2007"/>
          <ac:cxnSpMkLst>
            <pc:docMk/>
            <pc:sldMk cId="2046763801" sldId="338"/>
            <ac:cxnSpMk id="28" creationId="{3962BB07-3A83-C658-F244-7CE8CD50C83B}"/>
          </ac:cxnSpMkLst>
        </pc:cxnChg>
        <pc:cxnChg chg="mod">
          <ac:chgData name="Ewen Trafford" userId="e520b4bf-a196-48b7-bc10-b1590a457daa" providerId="ADAL" clId="{40737E46-5C00-4D05-85D2-B2DFEF1BFC90}" dt="2022-08-10T07:31:47.028" v="2007"/>
          <ac:cxnSpMkLst>
            <pc:docMk/>
            <pc:sldMk cId="2046763801" sldId="338"/>
            <ac:cxnSpMk id="29" creationId="{E4A2E800-84BE-A82C-146A-C85AB71D6208}"/>
          </ac:cxnSpMkLst>
        </pc:cxnChg>
        <pc:cxnChg chg="mod">
          <ac:chgData name="Ewen Trafford" userId="e520b4bf-a196-48b7-bc10-b1590a457daa" providerId="ADAL" clId="{40737E46-5C00-4D05-85D2-B2DFEF1BFC90}" dt="2022-08-10T07:31:47.028" v="2007"/>
          <ac:cxnSpMkLst>
            <pc:docMk/>
            <pc:sldMk cId="2046763801" sldId="338"/>
            <ac:cxnSpMk id="30" creationId="{79AABC1E-E8B3-6861-469B-48497778F246}"/>
          </ac:cxnSpMkLst>
        </pc:cxnChg>
        <pc:cxnChg chg="mod">
          <ac:chgData name="Ewen Trafford" userId="e520b4bf-a196-48b7-bc10-b1590a457daa" providerId="ADAL" clId="{40737E46-5C00-4D05-85D2-B2DFEF1BFC90}" dt="2022-08-10T07:31:47.028" v="2007"/>
          <ac:cxnSpMkLst>
            <pc:docMk/>
            <pc:sldMk cId="2046763801" sldId="338"/>
            <ac:cxnSpMk id="31" creationId="{5AE0F052-37A4-4168-1FAE-49C5BB273273}"/>
          </ac:cxnSpMkLst>
        </pc:cxnChg>
        <pc:cxnChg chg="add mod">
          <ac:chgData name="Ewen Trafford" userId="e520b4bf-a196-48b7-bc10-b1590a457daa" providerId="ADAL" clId="{40737E46-5C00-4D05-85D2-B2DFEF1BFC90}" dt="2022-08-10T10:32:16.290" v="3254" actId="1076"/>
          <ac:cxnSpMkLst>
            <pc:docMk/>
            <pc:sldMk cId="2046763801" sldId="338"/>
            <ac:cxnSpMk id="34" creationId="{B6160ED0-8DD4-4756-0299-ADB9753F3574}"/>
          </ac:cxnSpMkLst>
        </pc:cxnChg>
        <pc:cxnChg chg="mod">
          <ac:chgData name="Ewen Trafford" userId="e520b4bf-a196-48b7-bc10-b1590a457daa" providerId="ADAL" clId="{40737E46-5C00-4D05-85D2-B2DFEF1BFC90}" dt="2022-08-10T07:31:47.028" v="2007"/>
          <ac:cxnSpMkLst>
            <pc:docMk/>
            <pc:sldMk cId="2046763801" sldId="338"/>
            <ac:cxnSpMk id="39" creationId="{BB74CC34-9B6F-C735-7900-5F6EDEE97066}"/>
          </ac:cxnSpMkLst>
        </pc:cxnChg>
        <pc:cxnChg chg="mod">
          <ac:chgData name="Ewen Trafford" userId="e520b4bf-a196-48b7-bc10-b1590a457daa" providerId="ADAL" clId="{40737E46-5C00-4D05-85D2-B2DFEF1BFC90}" dt="2022-08-10T07:31:47.028" v="2007"/>
          <ac:cxnSpMkLst>
            <pc:docMk/>
            <pc:sldMk cId="2046763801" sldId="338"/>
            <ac:cxnSpMk id="46" creationId="{67C291B4-15AD-BD99-656C-AE453E1F2CF9}"/>
          </ac:cxnSpMkLst>
        </pc:cxnChg>
        <pc:cxnChg chg="mod">
          <ac:chgData name="Ewen Trafford" userId="e520b4bf-a196-48b7-bc10-b1590a457daa" providerId="ADAL" clId="{40737E46-5C00-4D05-85D2-B2DFEF1BFC90}" dt="2022-08-10T07:31:47.028" v="2007"/>
          <ac:cxnSpMkLst>
            <pc:docMk/>
            <pc:sldMk cId="2046763801" sldId="338"/>
            <ac:cxnSpMk id="47" creationId="{33A57D0E-3480-DEDD-7D11-490CABDBD5C4}"/>
          </ac:cxnSpMkLst>
        </pc:cxnChg>
        <pc:cxnChg chg="mod">
          <ac:chgData name="Ewen Trafford" userId="e520b4bf-a196-48b7-bc10-b1590a457daa" providerId="ADAL" clId="{40737E46-5C00-4D05-85D2-B2DFEF1BFC90}" dt="2022-08-10T07:31:47.028" v="2007"/>
          <ac:cxnSpMkLst>
            <pc:docMk/>
            <pc:sldMk cId="2046763801" sldId="338"/>
            <ac:cxnSpMk id="48" creationId="{A52527EB-1AAF-8416-6116-46B5DB9BE2B8}"/>
          </ac:cxnSpMkLst>
        </pc:cxnChg>
        <pc:cxnChg chg="mod">
          <ac:chgData name="Ewen Trafford" userId="e520b4bf-a196-48b7-bc10-b1590a457daa" providerId="ADAL" clId="{40737E46-5C00-4D05-85D2-B2DFEF1BFC90}" dt="2022-08-10T07:31:47.028" v="2007"/>
          <ac:cxnSpMkLst>
            <pc:docMk/>
            <pc:sldMk cId="2046763801" sldId="338"/>
            <ac:cxnSpMk id="49" creationId="{B64387CB-61B4-1B1B-801E-810C1501326A}"/>
          </ac:cxnSpMkLst>
        </pc:cxnChg>
        <pc:cxnChg chg="add mod">
          <ac:chgData name="Ewen Trafford" userId="e520b4bf-a196-48b7-bc10-b1590a457daa" providerId="ADAL" clId="{40737E46-5C00-4D05-85D2-B2DFEF1BFC90}" dt="2022-08-10T10:32:20.644" v="3255" actId="1076"/>
          <ac:cxnSpMkLst>
            <pc:docMk/>
            <pc:sldMk cId="2046763801" sldId="338"/>
            <ac:cxnSpMk id="52" creationId="{6EA5CE76-4832-7398-A263-102F60D98850}"/>
          </ac:cxnSpMkLst>
        </pc:cxnChg>
        <pc:cxnChg chg="add mod">
          <ac:chgData name="Ewen Trafford" userId="e520b4bf-a196-48b7-bc10-b1590a457daa" providerId="ADAL" clId="{40737E46-5C00-4D05-85D2-B2DFEF1BFC90}" dt="2022-08-10T10:32:20.644" v="3255" actId="1076"/>
          <ac:cxnSpMkLst>
            <pc:docMk/>
            <pc:sldMk cId="2046763801" sldId="338"/>
            <ac:cxnSpMk id="54" creationId="{62664057-0870-7F75-14EA-69D92444CC66}"/>
          </ac:cxnSpMkLst>
        </pc:cxnChg>
        <pc:cxnChg chg="add mod">
          <ac:chgData name="Ewen Trafford" userId="e520b4bf-a196-48b7-bc10-b1590a457daa" providerId="ADAL" clId="{40737E46-5C00-4D05-85D2-B2DFEF1BFC90}" dt="2022-08-10T10:32:20.644" v="3255" actId="1076"/>
          <ac:cxnSpMkLst>
            <pc:docMk/>
            <pc:sldMk cId="2046763801" sldId="338"/>
            <ac:cxnSpMk id="55" creationId="{DAFF7821-7CD9-E556-8CD4-AA291BE89AC1}"/>
          </ac:cxnSpMkLst>
        </pc:cxnChg>
        <pc:cxnChg chg="add mod">
          <ac:chgData name="Ewen Trafford" userId="e520b4bf-a196-48b7-bc10-b1590a457daa" providerId="ADAL" clId="{40737E46-5C00-4D05-85D2-B2DFEF1BFC90}" dt="2022-08-10T10:32:20.644" v="3255" actId="1076"/>
          <ac:cxnSpMkLst>
            <pc:docMk/>
            <pc:sldMk cId="2046763801" sldId="338"/>
            <ac:cxnSpMk id="57" creationId="{BAD1A489-0B0E-3B54-7591-4CAA9558142C}"/>
          </ac:cxnSpMkLst>
        </pc:cxnChg>
        <pc:cxnChg chg="add mod">
          <ac:chgData name="Ewen Trafford" userId="e520b4bf-a196-48b7-bc10-b1590a457daa" providerId="ADAL" clId="{40737E46-5C00-4D05-85D2-B2DFEF1BFC90}" dt="2022-08-10T10:32:20.644" v="3255" actId="1076"/>
          <ac:cxnSpMkLst>
            <pc:docMk/>
            <pc:sldMk cId="2046763801" sldId="338"/>
            <ac:cxnSpMk id="58" creationId="{6F595FD8-2C13-999C-5A7A-800E3E037617}"/>
          </ac:cxnSpMkLst>
        </pc:cxnChg>
        <pc:cxnChg chg="mod">
          <ac:chgData name="Ewen Trafford" userId="e520b4bf-a196-48b7-bc10-b1590a457daa" providerId="ADAL" clId="{40737E46-5C00-4D05-85D2-B2DFEF1BFC90}" dt="2022-08-10T08:29:58.463" v="2354"/>
          <ac:cxnSpMkLst>
            <pc:docMk/>
            <pc:sldMk cId="2046763801" sldId="338"/>
            <ac:cxnSpMk id="164" creationId="{B3C78287-5B8A-EAA1-1CEF-63604C83595C}"/>
          </ac:cxnSpMkLst>
        </pc:cxnChg>
        <pc:cxnChg chg="mod">
          <ac:chgData name="Ewen Trafford" userId="e520b4bf-a196-48b7-bc10-b1590a457daa" providerId="ADAL" clId="{40737E46-5C00-4D05-85D2-B2DFEF1BFC90}" dt="2022-08-10T08:29:58.463" v="2354"/>
          <ac:cxnSpMkLst>
            <pc:docMk/>
            <pc:sldMk cId="2046763801" sldId="338"/>
            <ac:cxnSpMk id="165" creationId="{BF68B44F-2C73-E759-0CC6-C3B0CB2D3932}"/>
          </ac:cxnSpMkLst>
        </pc:cxnChg>
        <pc:cxnChg chg="del mod">
          <ac:chgData name="Ewen Trafford" userId="e520b4bf-a196-48b7-bc10-b1590a457daa" providerId="ADAL" clId="{40737E46-5C00-4D05-85D2-B2DFEF1BFC90}" dt="2022-08-10T08:30:28.410" v="2366" actId="478"/>
          <ac:cxnSpMkLst>
            <pc:docMk/>
            <pc:sldMk cId="2046763801" sldId="338"/>
            <ac:cxnSpMk id="171" creationId="{7EA2AB6B-B9AA-27BC-E112-5E5BD319B83A}"/>
          </ac:cxnSpMkLst>
        </pc:cxnChg>
        <pc:cxnChg chg="del mod topLvl">
          <ac:chgData name="Ewen Trafford" userId="e520b4bf-a196-48b7-bc10-b1590a457daa" providerId="ADAL" clId="{40737E46-5C00-4D05-85D2-B2DFEF1BFC90}" dt="2022-08-10T08:30:30.627" v="2367" actId="478"/>
          <ac:cxnSpMkLst>
            <pc:docMk/>
            <pc:sldMk cId="2046763801" sldId="338"/>
            <ac:cxnSpMk id="172" creationId="{195F2254-C4AC-857E-CD5A-AACDA85C5559}"/>
          </ac:cxnSpMkLst>
        </pc:cxnChg>
        <pc:cxnChg chg="del mod">
          <ac:chgData name="Ewen Trafford" userId="e520b4bf-a196-48b7-bc10-b1590a457daa" providerId="ADAL" clId="{40737E46-5C00-4D05-85D2-B2DFEF1BFC90}" dt="2022-08-10T08:30:26.397" v="2365" actId="478"/>
          <ac:cxnSpMkLst>
            <pc:docMk/>
            <pc:sldMk cId="2046763801" sldId="338"/>
            <ac:cxnSpMk id="173" creationId="{58A53034-2B39-D0C4-87F6-BBF5943354A2}"/>
          </ac:cxnSpMkLst>
        </pc:cxnChg>
        <pc:cxnChg chg="add del mod">
          <ac:chgData name="Ewen Trafford" userId="e520b4bf-a196-48b7-bc10-b1590a457daa" providerId="ADAL" clId="{40737E46-5C00-4D05-85D2-B2DFEF1BFC90}" dt="2022-08-10T10:35:27.516" v="3302" actId="164"/>
          <ac:cxnSpMkLst>
            <pc:docMk/>
            <pc:sldMk cId="2046763801" sldId="338"/>
            <ac:cxnSpMk id="180" creationId="{70DE2CCE-10C3-4D03-2319-F4C5E30EF70F}"/>
          </ac:cxnSpMkLst>
        </pc:cxnChg>
        <pc:cxnChg chg="add del mod">
          <ac:chgData name="Ewen Trafford" userId="e520b4bf-a196-48b7-bc10-b1590a457daa" providerId="ADAL" clId="{40737E46-5C00-4D05-85D2-B2DFEF1BFC90}" dt="2022-08-10T10:35:27.516" v="3302" actId="164"/>
          <ac:cxnSpMkLst>
            <pc:docMk/>
            <pc:sldMk cId="2046763801" sldId="338"/>
            <ac:cxnSpMk id="182" creationId="{F788BF9F-7C01-AE4E-1E26-113708204571}"/>
          </ac:cxnSpMkLst>
        </pc:cxnChg>
        <pc:cxnChg chg="del mod">
          <ac:chgData name="Ewen Trafford" userId="e520b4bf-a196-48b7-bc10-b1590a457daa" providerId="ADAL" clId="{40737E46-5C00-4D05-85D2-B2DFEF1BFC90}" dt="2022-08-10T08:31:55.910" v="2387" actId="478"/>
          <ac:cxnSpMkLst>
            <pc:docMk/>
            <pc:sldMk cId="2046763801" sldId="338"/>
            <ac:cxnSpMk id="185" creationId="{962A8F01-F7E2-1832-35C6-FBC40D138856}"/>
          </ac:cxnSpMkLst>
        </pc:cxnChg>
        <pc:cxnChg chg="del mod">
          <ac:chgData name="Ewen Trafford" userId="e520b4bf-a196-48b7-bc10-b1590a457daa" providerId="ADAL" clId="{40737E46-5C00-4D05-85D2-B2DFEF1BFC90}" dt="2022-08-10T08:31:53.705" v="2386" actId="478"/>
          <ac:cxnSpMkLst>
            <pc:docMk/>
            <pc:sldMk cId="2046763801" sldId="338"/>
            <ac:cxnSpMk id="186" creationId="{59EC37FD-5604-8056-928D-08171D0C71E3}"/>
          </ac:cxnSpMkLst>
        </pc:cxnChg>
        <pc:cxnChg chg="mod">
          <ac:chgData name="Ewen Trafford" userId="e520b4bf-a196-48b7-bc10-b1590a457daa" providerId="ADAL" clId="{40737E46-5C00-4D05-85D2-B2DFEF1BFC90}" dt="2022-08-10T10:11:46.937" v="2715"/>
          <ac:cxnSpMkLst>
            <pc:docMk/>
            <pc:sldMk cId="2046763801" sldId="338"/>
            <ac:cxnSpMk id="209" creationId="{568EC2FA-D82C-E262-1FEE-05212FF378E5}"/>
          </ac:cxnSpMkLst>
        </pc:cxnChg>
        <pc:cxnChg chg="mod">
          <ac:chgData name="Ewen Trafford" userId="e520b4bf-a196-48b7-bc10-b1590a457daa" providerId="ADAL" clId="{40737E46-5C00-4D05-85D2-B2DFEF1BFC90}" dt="2022-08-10T10:11:46.937" v="2715"/>
          <ac:cxnSpMkLst>
            <pc:docMk/>
            <pc:sldMk cId="2046763801" sldId="338"/>
            <ac:cxnSpMk id="210" creationId="{4C3B4BEA-FC60-4091-1371-B1B71896922C}"/>
          </ac:cxnSpMkLst>
        </pc:cxnChg>
        <pc:cxnChg chg="del mod">
          <ac:chgData name="Ewen Trafford" userId="e520b4bf-a196-48b7-bc10-b1590a457daa" providerId="ADAL" clId="{40737E46-5C00-4D05-85D2-B2DFEF1BFC90}" dt="2022-08-10T10:13:28.148" v="2748" actId="478"/>
          <ac:cxnSpMkLst>
            <pc:docMk/>
            <pc:sldMk cId="2046763801" sldId="338"/>
            <ac:cxnSpMk id="216" creationId="{A0F80364-4060-4FCB-025B-8D5DAE6D55CF}"/>
          </ac:cxnSpMkLst>
        </pc:cxnChg>
        <pc:cxnChg chg="mod">
          <ac:chgData name="Ewen Trafford" userId="e520b4bf-a196-48b7-bc10-b1590a457daa" providerId="ADAL" clId="{40737E46-5C00-4D05-85D2-B2DFEF1BFC90}" dt="2022-08-10T10:12:44.178" v="2739"/>
          <ac:cxnSpMkLst>
            <pc:docMk/>
            <pc:sldMk cId="2046763801" sldId="338"/>
            <ac:cxnSpMk id="217" creationId="{FF0851A6-90E0-1B5F-FC4E-A1810073DB79}"/>
          </ac:cxnSpMkLst>
        </pc:cxnChg>
        <pc:cxnChg chg="del mod">
          <ac:chgData name="Ewen Trafford" userId="e520b4bf-a196-48b7-bc10-b1590a457daa" providerId="ADAL" clId="{40737E46-5C00-4D05-85D2-B2DFEF1BFC90}" dt="2022-08-10T10:12:48.116" v="2741" actId="478"/>
          <ac:cxnSpMkLst>
            <pc:docMk/>
            <pc:sldMk cId="2046763801" sldId="338"/>
            <ac:cxnSpMk id="218" creationId="{DF32FA4D-14EB-D757-9EB0-4FEFE8BA9E1F}"/>
          </ac:cxnSpMkLst>
        </pc:cxnChg>
        <pc:cxnChg chg="add del mod">
          <ac:chgData name="Ewen Trafford" userId="e520b4bf-a196-48b7-bc10-b1590a457daa" providerId="ADAL" clId="{40737E46-5C00-4D05-85D2-B2DFEF1BFC90}" dt="2022-08-10T10:17:15.917" v="2821" actId="478"/>
          <ac:cxnSpMkLst>
            <pc:docMk/>
            <pc:sldMk cId="2046763801" sldId="338"/>
            <ac:cxnSpMk id="225" creationId="{03C61DE6-FB26-0FE0-A088-FFA61DCAC011}"/>
          </ac:cxnSpMkLst>
        </pc:cxnChg>
        <pc:cxnChg chg="add del mod">
          <ac:chgData name="Ewen Trafford" userId="e520b4bf-a196-48b7-bc10-b1590a457daa" providerId="ADAL" clId="{40737E46-5C00-4D05-85D2-B2DFEF1BFC90}" dt="2022-08-10T10:17:15.917" v="2821" actId="478"/>
          <ac:cxnSpMkLst>
            <pc:docMk/>
            <pc:sldMk cId="2046763801" sldId="338"/>
            <ac:cxnSpMk id="226" creationId="{7AC7835A-73C2-8CCE-AE93-DE75D26C80A4}"/>
          </ac:cxnSpMkLst>
        </pc:cxnChg>
        <pc:cxnChg chg="add del mod">
          <ac:chgData name="Ewen Trafford" userId="e520b4bf-a196-48b7-bc10-b1590a457daa" providerId="ADAL" clId="{40737E46-5C00-4D05-85D2-B2DFEF1BFC90}" dt="2022-08-10T10:17:15.917" v="2821" actId="478"/>
          <ac:cxnSpMkLst>
            <pc:docMk/>
            <pc:sldMk cId="2046763801" sldId="338"/>
            <ac:cxnSpMk id="227" creationId="{2966A8F5-8AE4-82B6-8592-379296E63095}"/>
          </ac:cxnSpMkLst>
        </pc:cxnChg>
        <pc:cxnChg chg="add del mod">
          <ac:chgData name="Ewen Trafford" userId="e520b4bf-a196-48b7-bc10-b1590a457daa" providerId="ADAL" clId="{40737E46-5C00-4D05-85D2-B2DFEF1BFC90}" dt="2022-08-10T10:17:15.917" v="2821" actId="478"/>
          <ac:cxnSpMkLst>
            <pc:docMk/>
            <pc:sldMk cId="2046763801" sldId="338"/>
            <ac:cxnSpMk id="230" creationId="{05455816-65F5-A80C-CA45-F9CCDF81A089}"/>
          </ac:cxnSpMkLst>
        </pc:cxnChg>
        <pc:cxnChg chg="add del mod">
          <ac:chgData name="Ewen Trafford" userId="e520b4bf-a196-48b7-bc10-b1590a457daa" providerId="ADAL" clId="{40737E46-5C00-4D05-85D2-B2DFEF1BFC90}" dt="2022-08-10T10:17:15.917" v="2821" actId="478"/>
          <ac:cxnSpMkLst>
            <pc:docMk/>
            <pc:sldMk cId="2046763801" sldId="338"/>
            <ac:cxnSpMk id="231" creationId="{911F68B0-5A17-6858-BDBE-D343486977E0}"/>
          </ac:cxnSpMkLst>
        </pc:cxnChg>
        <pc:cxnChg chg="add del mod">
          <ac:chgData name="Ewen Trafford" userId="e520b4bf-a196-48b7-bc10-b1590a457daa" providerId="ADAL" clId="{40737E46-5C00-4D05-85D2-B2DFEF1BFC90}" dt="2022-08-10T10:35:27.516" v="3302" actId="164"/>
          <ac:cxnSpMkLst>
            <pc:docMk/>
            <pc:sldMk cId="2046763801" sldId="338"/>
            <ac:cxnSpMk id="239" creationId="{373FEEC4-60FC-1436-7401-39762AF30C93}"/>
          </ac:cxnSpMkLst>
        </pc:cxnChg>
        <pc:cxnChg chg="add del mod">
          <ac:chgData name="Ewen Trafford" userId="e520b4bf-a196-48b7-bc10-b1590a457daa" providerId="ADAL" clId="{40737E46-5C00-4D05-85D2-B2DFEF1BFC90}" dt="2022-08-10T10:35:27.516" v="3302" actId="164"/>
          <ac:cxnSpMkLst>
            <pc:docMk/>
            <pc:sldMk cId="2046763801" sldId="338"/>
            <ac:cxnSpMk id="242" creationId="{695ED39A-FEA3-EB55-405B-D762BD61916A}"/>
          </ac:cxnSpMkLst>
        </pc:cxnChg>
        <pc:cxnChg chg="add del mod">
          <ac:chgData name="Ewen Trafford" userId="e520b4bf-a196-48b7-bc10-b1590a457daa" providerId="ADAL" clId="{40737E46-5C00-4D05-85D2-B2DFEF1BFC90}" dt="2022-08-10T10:35:27.516" v="3302" actId="164"/>
          <ac:cxnSpMkLst>
            <pc:docMk/>
            <pc:sldMk cId="2046763801" sldId="338"/>
            <ac:cxnSpMk id="243" creationId="{3A3FE032-E217-0B1F-B13B-63463E2A1588}"/>
          </ac:cxnSpMkLst>
        </pc:cxnChg>
        <pc:cxnChg chg="add del mod">
          <ac:chgData name="Ewen Trafford" userId="e520b4bf-a196-48b7-bc10-b1590a457daa" providerId="ADAL" clId="{40737E46-5C00-4D05-85D2-B2DFEF1BFC90}" dt="2022-08-10T10:46:42.740" v="3815" actId="1038"/>
          <ac:cxnSpMkLst>
            <pc:docMk/>
            <pc:sldMk cId="2046763801" sldId="338"/>
            <ac:cxnSpMk id="244" creationId="{2F4ED81A-1F4A-32EA-A8A8-5BC4114C3AA2}"/>
          </ac:cxnSpMkLst>
        </pc:cxnChg>
        <pc:cxnChg chg="add del mod">
          <ac:chgData name="Ewen Trafford" userId="e520b4bf-a196-48b7-bc10-b1590a457daa" providerId="ADAL" clId="{40737E46-5C00-4D05-85D2-B2DFEF1BFC90}" dt="2022-08-10T10:35:27.516" v="3302" actId="164"/>
          <ac:cxnSpMkLst>
            <pc:docMk/>
            <pc:sldMk cId="2046763801" sldId="338"/>
            <ac:cxnSpMk id="250" creationId="{48ED0F79-094E-9271-5A9D-E27E6388ABD4}"/>
          </ac:cxnSpMkLst>
        </pc:cxnChg>
        <pc:cxnChg chg="add del mod">
          <ac:chgData name="Ewen Trafford" userId="e520b4bf-a196-48b7-bc10-b1590a457daa" providerId="ADAL" clId="{40737E46-5C00-4D05-85D2-B2DFEF1BFC90}" dt="2022-08-10T10:35:27.516" v="3302" actId="164"/>
          <ac:cxnSpMkLst>
            <pc:docMk/>
            <pc:sldMk cId="2046763801" sldId="338"/>
            <ac:cxnSpMk id="255" creationId="{636F6AEA-93D8-25B2-A2A4-97BBF279530E}"/>
          </ac:cxnSpMkLst>
        </pc:cxnChg>
        <pc:cxnChg chg="add del mod">
          <ac:chgData name="Ewen Trafford" userId="e520b4bf-a196-48b7-bc10-b1590a457daa" providerId="ADAL" clId="{40737E46-5C00-4D05-85D2-B2DFEF1BFC90}" dt="2022-08-10T10:35:27.516" v="3302" actId="164"/>
          <ac:cxnSpMkLst>
            <pc:docMk/>
            <pc:sldMk cId="2046763801" sldId="338"/>
            <ac:cxnSpMk id="256" creationId="{2C212E44-EA16-7ABF-BD51-D23AE844B22B}"/>
          </ac:cxnSpMkLst>
        </pc:cxnChg>
        <pc:cxnChg chg="del mod topLvl">
          <ac:chgData name="Ewen Trafford" userId="e520b4bf-a196-48b7-bc10-b1590a457daa" providerId="ADAL" clId="{40737E46-5C00-4D05-85D2-B2DFEF1BFC90}" dt="2022-08-10T10:32:37.912" v="3259" actId="478"/>
          <ac:cxnSpMkLst>
            <pc:docMk/>
            <pc:sldMk cId="2046763801" sldId="338"/>
            <ac:cxnSpMk id="260" creationId="{FF0DE1BE-0587-07C9-65BF-134EE8E429FE}"/>
          </ac:cxnSpMkLst>
        </pc:cxnChg>
        <pc:cxnChg chg="del mod topLvl">
          <ac:chgData name="Ewen Trafford" userId="e520b4bf-a196-48b7-bc10-b1590a457daa" providerId="ADAL" clId="{40737E46-5C00-4D05-85D2-B2DFEF1BFC90}" dt="2022-08-10T10:32:37.912" v="3259" actId="478"/>
          <ac:cxnSpMkLst>
            <pc:docMk/>
            <pc:sldMk cId="2046763801" sldId="338"/>
            <ac:cxnSpMk id="261" creationId="{35564D5C-62F6-76FA-A7F3-7C496A5DDEA3}"/>
          </ac:cxnSpMkLst>
        </pc:cxnChg>
        <pc:cxnChg chg="del mod topLvl">
          <ac:chgData name="Ewen Trafford" userId="e520b4bf-a196-48b7-bc10-b1590a457daa" providerId="ADAL" clId="{40737E46-5C00-4D05-85D2-B2DFEF1BFC90}" dt="2022-08-10T10:32:37.912" v="3259" actId="478"/>
          <ac:cxnSpMkLst>
            <pc:docMk/>
            <pc:sldMk cId="2046763801" sldId="338"/>
            <ac:cxnSpMk id="262" creationId="{41F90992-43A5-1CBB-0A24-88339BACCFF6}"/>
          </ac:cxnSpMkLst>
        </pc:cxnChg>
        <pc:cxnChg chg="add del mod">
          <ac:chgData name="Ewen Trafford" userId="e520b4bf-a196-48b7-bc10-b1590a457daa" providerId="ADAL" clId="{40737E46-5C00-4D05-85D2-B2DFEF1BFC90}" dt="2022-08-10T10:35:27.516" v="3302" actId="164"/>
          <ac:cxnSpMkLst>
            <pc:docMk/>
            <pc:sldMk cId="2046763801" sldId="338"/>
            <ac:cxnSpMk id="274" creationId="{3AA7464B-FAB6-68C5-FA66-870996347CA9}"/>
          </ac:cxnSpMkLst>
        </pc:cxnChg>
        <pc:cxnChg chg="add del mod">
          <ac:chgData name="Ewen Trafford" userId="e520b4bf-a196-48b7-bc10-b1590a457daa" providerId="ADAL" clId="{40737E46-5C00-4D05-85D2-B2DFEF1BFC90}" dt="2022-08-10T10:33:50.621" v="3274"/>
          <ac:cxnSpMkLst>
            <pc:docMk/>
            <pc:sldMk cId="2046763801" sldId="338"/>
            <ac:cxnSpMk id="277" creationId="{F015FBCD-0DE6-8B16-9BD4-52119DA377A3}"/>
          </ac:cxnSpMkLst>
        </pc:cxnChg>
        <pc:cxnChg chg="add del mod">
          <ac:chgData name="Ewen Trafford" userId="e520b4bf-a196-48b7-bc10-b1590a457daa" providerId="ADAL" clId="{40737E46-5C00-4D05-85D2-B2DFEF1BFC90}" dt="2022-08-10T10:33:50.621" v="3274"/>
          <ac:cxnSpMkLst>
            <pc:docMk/>
            <pc:sldMk cId="2046763801" sldId="338"/>
            <ac:cxnSpMk id="278" creationId="{A5EC0B88-57AE-5A6E-3614-7792F6EB2A63}"/>
          </ac:cxnSpMkLst>
        </pc:cxnChg>
        <pc:cxnChg chg="add del mod">
          <ac:chgData name="Ewen Trafford" userId="e520b4bf-a196-48b7-bc10-b1590a457daa" providerId="ADAL" clId="{40737E46-5C00-4D05-85D2-B2DFEF1BFC90}" dt="2022-08-10T10:33:50.621" v="3274"/>
          <ac:cxnSpMkLst>
            <pc:docMk/>
            <pc:sldMk cId="2046763801" sldId="338"/>
            <ac:cxnSpMk id="279" creationId="{43D63478-8154-4B76-23D8-50F131794E03}"/>
          </ac:cxnSpMkLst>
        </pc:cxnChg>
        <pc:cxnChg chg="add del mod">
          <ac:chgData name="Ewen Trafford" userId="e520b4bf-a196-48b7-bc10-b1590a457daa" providerId="ADAL" clId="{40737E46-5C00-4D05-85D2-B2DFEF1BFC90}" dt="2022-08-10T10:33:50.621" v="3274"/>
          <ac:cxnSpMkLst>
            <pc:docMk/>
            <pc:sldMk cId="2046763801" sldId="338"/>
            <ac:cxnSpMk id="280" creationId="{2F756ED5-C007-09D4-7316-6E6958375667}"/>
          </ac:cxnSpMkLst>
        </pc:cxnChg>
        <pc:cxnChg chg="add del mod">
          <ac:chgData name="Ewen Trafford" userId="e520b4bf-a196-48b7-bc10-b1590a457daa" providerId="ADAL" clId="{40737E46-5C00-4D05-85D2-B2DFEF1BFC90}" dt="2022-08-10T10:33:50.621" v="3274"/>
          <ac:cxnSpMkLst>
            <pc:docMk/>
            <pc:sldMk cId="2046763801" sldId="338"/>
            <ac:cxnSpMk id="281" creationId="{DAE00990-AED8-76A2-01BB-27FD5513301E}"/>
          </ac:cxnSpMkLst>
        </pc:cxnChg>
        <pc:cxnChg chg="add del mod">
          <ac:chgData name="Ewen Trafford" userId="e520b4bf-a196-48b7-bc10-b1590a457daa" providerId="ADAL" clId="{40737E46-5C00-4D05-85D2-B2DFEF1BFC90}" dt="2022-08-10T10:34:23.049" v="3286"/>
          <ac:cxnSpMkLst>
            <pc:docMk/>
            <pc:sldMk cId="2046763801" sldId="338"/>
            <ac:cxnSpMk id="290" creationId="{38C9D548-8D19-051C-EDFD-5C49129E661D}"/>
          </ac:cxnSpMkLst>
        </pc:cxnChg>
        <pc:cxnChg chg="add del mod">
          <ac:chgData name="Ewen Trafford" userId="e520b4bf-a196-48b7-bc10-b1590a457daa" providerId="ADAL" clId="{40737E46-5C00-4D05-85D2-B2DFEF1BFC90}" dt="2022-08-10T10:34:23.049" v="3286"/>
          <ac:cxnSpMkLst>
            <pc:docMk/>
            <pc:sldMk cId="2046763801" sldId="338"/>
            <ac:cxnSpMk id="291" creationId="{10AF402F-7FEE-38A1-EF5C-7CBB64B10296}"/>
          </ac:cxnSpMkLst>
        </pc:cxnChg>
        <pc:cxnChg chg="add del mod">
          <ac:chgData name="Ewen Trafford" userId="e520b4bf-a196-48b7-bc10-b1590a457daa" providerId="ADAL" clId="{40737E46-5C00-4D05-85D2-B2DFEF1BFC90}" dt="2022-08-10T10:34:23.049" v="3286"/>
          <ac:cxnSpMkLst>
            <pc:docMk/>
            <pc:sldMk cId="2046763801" sldId="338"/>
            <ac:cxnSpMk id="292" creationId="{276A2899-BB97-77F9-46A6-0A37F886FCD9}"/>
          </ac:cxnSpMkLst>
        </pc:cxnChg>
        <pc:cxnChg chg="add del mod">
          <ac:chgData name="Ewen Trafford" userId="e520b4bf-a196-48b7-bc10-b1590a457daa" providerId="ADAL" clId="{40737E46-5C00-4D05-85D2-B2DFEF1BFC90}" dt="2022-08-10T10:34:23.049" v="3286"/>
          <ac:cxnSpMkLst>
            <pc:docMk/>
            <pc:sldMk cId="2046763801" sldId="338"/>
            <ac:cxnSpMk id="293" creationId="{5E7A7372-DAA2-E6D9-8A62-C1F1F2AFDDB8}"/>
          </ac:cxnSpMkLst>
        </pc:cxnChg>
        <pc:cxnChg chg="add del mod">
          <ac:chgData name="Ewen Trafford" userId="e520b4bf-a196-48b7-bc10-b1590a457daa" providerId="ADAL" clId="{40737E46-5C00-4D05-85D2-B2DFEF1BFC90}" dt="2022-08-10T10:34:23.049" v="3286"/>
          <ac:cxnSpMkLst>
            <pc:docMk/>
            <pc:sldMk cId="2046763801" sldId="338"/>
            <ac:cxnSpMk id="294" creationId="{27239349-341B-1CDF-69C1-40153EBFEF65}"/>
          </ac:cxnSpMkLst>
        </pc:cxnChg>
        <pc:cxnChg chg="add del mod">
          <ac:chgData name="Ewen Trafford" userId="e520b4bf-a196-48b7-bc10-b1590a457daa" providerId="ADAL" clId="{40737E46-5C00-4D05-85D2-B2DFEF1BFC90}" dt="2022-08-10T10:35:07.903" v="3300" actId="478"/>
          <ac:cxnSpMkLst>
            <pc:docMk/>
            <pc:sldMk cId="2046763801" sldId="338"/>
            <ac:cxnSpMk id="303" creationId="{5A987511-8070-A4F0-D55A-C13478624E88}"/>
          </ac:cxnSpMkLst>
        </pc:cxnChg>
        <pc:cxnChg chg="add mod">
          <ac:chgData name="Ewen Trafford" userId="e520b4bf-a196-48b7-bc10-b1590a457daa" providerId="ADAL" clId="{40737E46-5C00-4D05-85D2-B2DFEF1BFC90}" dt="2022-08-10T10:34:35.960" v="3290" actId="1076"/>
          <ac:cxnSpMkLst>
            <pc:docMk/>
            <pc:sldMk cId="2046763801" sldId="338"/>
            <ac:cxnSpMk id="304" creationId="{7E0679BD-5D21-927A-469B-155509688A11}"/>
          </ac:cxnSpMkLst>
        </pc:cxnChg>
        <pc:cxnChg chg="add mod">
          <ac:chgData name="Ewen Trafford" userId="e520b4bf-a196-48b7-bc10-b1590a457daa" providerId="ADAL" clId="{40737E46-5C00-4D05-85D2-B2DFEF1BFC90}" dt="2022-08-10T10:34:35.960" v="3290" actId="1076"/>
          <ac:cxnSpMkLst>
            <pc:docMk/>
            <pc:sldMk cId="2046763801" sldId="338"/>
            <ac:cxnSpMk id="305" creationId="{244D46EC-768F-C9C0-ADCF-6A67AD57630E}"/>
          </ac:cxnSpMkLst>
        </pc:cxnChg>
        <pc:cxnChg chg="add mod">
          <ac:chgData name="Ewen Trafford" userId="e520b4bf-a196-48b7-bc10-b1590a457daa" providerId="ADAL" clId="{40737E46-5C00-4D05-85D2-B2DFEF1BFC90}" dt="2022-08-10T10:34:35.960" v="3290" actId="1076"/>
          <ac:cxnSpMkLst>
            <pc:docMk/>
            <pc:sldMk cId="2046763801" sldId="338"/>
            <ac:cxnSpMk id="306" creationId="{A6AA15C7-2A61-700D-A760-43E53160C13B}"/>
          </ac:cxnSpMkLst>
        </pc:cxnChg>
        <pc:cxnChg chg="add mod">
          <ac:chgData name="Ewen Trafford" userId="e520b4bf-a196-48b7-bc10-b1590a457daa" providerId="ADAL" clId="{40737E46-5C00-4D05-85D2-B2DFEF1BFC90}" dt="2022-08-10T10:35:02.885" v="3298" actId="14100"/>
          <ac:cxnSpMkLst>
            <pc:docMk/>
            <pc:sldMk cId="2046763801" sldId="338"/>
            <ac:cxnSpMk id="307" creationId="{2DF36239-3A90-BECA-3328-47438C8CA40D}"/>
          </ac:cxnSpMkLst>
        </pc:cxnChg>
        <pc:cxnChg chg="del mod">
          <ac:chgData name="Ewen Trafford" userId="e520b4bf-a196-48b7-bc10-b1590a457daa" providerId="ADAL" clId="{40737E46-5C00-4D05-85D2-B2DFEF1BFC90}" dt="2022-08-10T10:36:16.142" v="3313" actId="478"/>
          <ac:cxnSpMkLst>
            <pc:docMk/>
            <pc:sldMk cId="2046763801" sldId="338"/>
            <ac:cxnSpMk id="325" creationId="{FC25BFBA-6D65-2C9F-BD49-DADF8CD7EF4E}"/>
          </ac:cxnSpMkLst>
        </pc:cxnChg>
        <pc:cxnChg chg="del mod">
          <ac:chgData name="Ewen Trafford" userId="e520b4bf-a196-48b7-bc10-b1590a457daa" providerId="ADAL" clId="{40737E46-5C00-4D05-85D2-B2DFEF1BFC90}" dt="2022-08-10T10:36:10.391" v="3310" actId="478"/>
          <ac:cxnSpMkLst>
            <pc:docMk/>
            <pc:sldMk cId="2046763801" sldId="338"/>
            <ac:cxnSpMk id="327" creationId="{EAB4F2B0-733F-6F9C-02E9-33FC9C8AC280}"/>
          </ac:cxnSpMkLst>
        </pc:cxnChg>
        <pc:cxnChg chg="del mod">
          <ac:chgData name="Ewen Trafford" userId="e520b4bf-a196-48b7-bc10-b1590a457daa" providerId="ADAL" clId="{40737E46-5C00-4D05-85D2-B2DFEF1BFC90}" dt="2022-08-10T10:36:23.846" v="3318" actId="478"/>
          <ac:cxnSpMkLst>
            <pc:docMk/>
            <pc:sldMk cId="2046763801" sldId="338"/>
            <ac:cxnSpMk id="329" creationId="{A7DC7424-E718-B955-8C6A-E73DC5D52B87}"/>
          </ac:cxnSpMkLst>
        </pc:cxnChg>
        <pc:cxnChg chg="del mod">
          <ac:chgData name="Ewen Trafford" userId="e520b4bf-a196-48b7-bc10-b1590a457daa" providerId="ADAL" clId="{40737E46-5C00-4D05-85D2-B2DFEF1BFC90}" dt="2022-08-10T10:36:33.110" v="3325" actId="478"/>
          <ac:cxnSpMkLst>
            <pc:docMk/>
            <pc:sldMk cId="2046763801" sldId="338"/>
            <ac:cxnSpMk id="330" creationId="{EB7CE21C-1B3F-DF06-440A-7E083EA12D4F}"/>
          </ac:cxnSpMkLst>
        </pc:cxnChg>
        <pc:cxnChg chg="del mod">
          <ac:chgData name="Ewen Trafford" userId="e520b4bf-a196-48b7-bc10-b1590a457daa" providerId="ADAL" clId="{40737E46-5C00-4D05-85D2-B2DFEF1BFC90}" dt="2022-08-10T10:36:34.471" v="3326" actId="478"/>
          <ac:cxnSpMkLst>
            <pc:docMk/>
            <pc:sldMk cId="2046763801" sldId="338"/>
            <ac:cxnSpMk id="331" creationId="{495455CE-20AD-6A76-7D5E-BC55C333AE8F}"/>
          </ac:cxnSpMkLst>
        </pc:cxnChg>
        <pc:cxnChg chg="del mod">
          <ac:chgData name="Ewen Trafford" userId="e520b4bf-a196-48b7-bc10-b1590a457daa" providerId="ADAL" clId="{40737E46-5C00-4D05-85D2-B2DFEF1BFC90}" dt="2022-08-10T10:36:35.923" v="3327" actId="478"/>
          <ac:cxnSpMkLst>
            <pc:docMk/>
            <pc:sldMk cId="2046763801" sldId="338"/>
            <ac:cxnSpMk id="332" creationId="{2BA9BC11-CC9E-8B47-5E32-69DC2C8A38E0}"/>
          </ac:cxnSpMkLst>
        </pc:cxnChg>
        <pc:cxnChg chg="mod">
          <ac:chgData name="Ewen Trafford" userId="e520b4bf-a196-48b7-bc10-b1590a457daa" providerId="ADAL" clId="{40737E46-5C00-4D05-85D2-B2DFEF1BFC90}" dt="2022-08-10T10:37:22.545" v="3343" actId="1076"/>
          <ac:cxnSpMkLst>
            <pc:docMk/>
            <pc:sldMk cId="2046763801" sldId="338"/>
            <ac:cxnSpMk id="337" creationId="{F8C0AFAD-B699-CCDE-6FF3-2C065FCF127E}"/>
          </ac:cxnSpMkLst>
        </pc:cxnChg>
        <pc:cxnChg chg="mod">
          <ac:chgData name="Ewen Trafford" userId="e520b4bf-a196-48b7-bc10-b1590a457daa" providerId="ADAL" clId="{40737E46-5C00-4D05-85D2-B2DFEF1BFC90}" dt="2022-08-10T10:36:05.203" v="3308"/>
          <ac:cxnSpMkLst>
            <pc:docMk/>
            <pc:sldMk cId="2046763801" sldId="338"/>
            <ac:cxnSpMk id="340" creationId="{54D61CFB-E0F4-8297-CF2D-CD32F19319C6}"/>
          </ac:cxnSpMkLst>
        </pc:cxnChg>
        <pc:cxnChg chg="mod">
          <ac:chgData name="Ewen Trafford" userId="e520b4bf-a196-48b7-bc10-b1590a457daa" providerId="ADAL" clId="{40737E46-5C00-4D05-85D2-B2DFEF1BFC90}" dt="2022-08-10T10:36:05.203" v="3308"/>
          <ac:cxnSpMkLst>
            <pc:docMk/>
            <pc:sldMk cId="2046763801" sldId="338"/>
            <ac:cxnSpMk id="341" creationId="{ACE254F4-F333-5922-2C43-DD473B567661}"/>
          </ac:cxnSpMkLst>
        </pc:cxnChg>
        <pc:cxnChg chg="mod">
          <ac:chgData name="Ewen Trafford" userId="e520b4bf-a196-48b7-bc10-b1590a457daa" providerId="ADAL" clId="{40737E46-5C00-4D05-85D2-B2DFEF1BFC90}" dt="2022-08-10T10:38:29.796" v="3364" actId="1037"/>
          <ac:cxnSpMkLst>
            <pc:docMk/>
            <pc:sldMk cId="2046763801" sldId="338"/>
            <ac:cxnSpMk id="344" creationId="{786C7EFB-1185-53DB-69CF-E7BB565ED160}"/>
          </ac:cxnSpMkLst>
        </pc:cxnChg>
      </pc:sldChg>
      <pc:sldChg chg="del">
        <pc:chgData name="Ewen Trafford" userId="e520b4bf-a196-48b7-bc10-b1590a457daa" providerId="ADAL" clId="{40737E46-5C00-4D05-85D2-B2DFEF1BFC90}" dt="2022-08-10T07:10:10.560" v="1603" actId="47"/>
        <pc:sldMkLst>
          <pc:docMk/>
          <pc:sldMk cId="2070260529" sldId="339"/>
        </pc:sldMkLst>
      </pc:sldChg>
      <pc:sldChg chg="modSp mod">
        <pc:chgData name="Ewen Trafford" userId="e520b4bf-a196-48b7-bc10-b1590a457daa" providerId="ADAL" clId="{40737E46-5C00-4D05-85D2-B2DFEF1BFC90}" dt="2022-08-10T10:42:05.532" v="3778" actId="14100"/>
        <pc:sldMkLst>
          <pc:docMk/>
          <pc:sldMk cId="1867798484" sldId="341"/>
        </pc:sldMkLst>
        <pc:spChg chg="mod">
          <ac:chgData name="Ewen Trafford" userId="e520b4bf-a196-48b7-bc10-b1590a457daa" providerId="ADAL" clId="{40737E46-5C00-4D05-85D2-B2DFEF1BFC90}" dt="2022-08-10T10:42:05.532" v="3778" actId="14100"/>
          <ac:spMkLst>
            <pc:docMk/>
            <pc:sldMk cId="1867798484" sldId="341"/>
            <ac:spMk id="3" creationId="{B08F7FAB-511F-7730-95EA-CDCD60827684}"/>
          </ac:spMkLst>
        </pc:spChg>
      </pc:sldChg>
      <pc:sldChg chg="addSp modSp mod">
        <pc:chgData name="Ewen Trafford" userId="e520b4bf-a196-48b7-bc10-b1590a457daa" providerId="ADAL" clId="{40737E46-5C00-4D05-85D2-B2DFEF1BFC90}" dt="2022-08-24T12:56:16.024" v="4593" actId="1076"/>
        <pc:sldMkLst>
          <pc:docMk/>
          <pc:sldMk cId="1628781729" sldId="345"/>
        </pc:sldMkLst>
        <pc:spChg chg="mod">
          <ac:chgData name="Ewen Trafford" userId="e520b4bf-a196-48b7-bc10-b1590a457daa" providerId="ADAL" clId="{40737E46-5C00-4D05-85D2-B2DFEF1BFC90}" dt="2022-08-10T10:56:01.448" v="4214" actId="1076"/>
          <ac:spMkLst>
            <pc:docMk/>
            <pc:sldMk cId="1628781729" sldId="345"/>
            <ac:spMk id="3" creationId="{8CAB9D22-B491-9AFA-4800-DD173F69AF8D}"/>
          </ac:spMkLst>
        </pc:spChg>
        <pc:spChg chg="add mod">
          <ac:chgData name="Ewen Trafford" userId="e520b4bf-a196-48b7-bc10-b1590a457daa" providerId="ADAL" clId="{40737E46-5C00-4D05-85D2-B2DFEF1BFC90}" dt="2022-08-24T12:56:16.024" v="4593" actId="1076"/>
          <ac:spMkLst>
            <pc:docMk/>
            <pc:sldMk cId="1628781729" sldId="345"/>
            <ac:spMk id="4" creationId="{19D7734E-8462-3606-BA24-3A7AA20BCAA2}"/>
          </ac:spMkLst>
        </pc:spChg>
      </pc:sldChg>
      <pc:sldChg chg="del">
        <pc:chgData name="Ewen Trafford" userId="e520b4bf-a196-48b7-bc10-b1590a457daa" providerId="ADAL" clId="{40737E46-5C00-4D05-85D2-B2DFEF1BFC90}" dt="2022-08-10T07:10:17.420" v="1604" actId="47"/>
        <pc:sldMkLst>
          <pc:docMk/>
          <pc:sldMk cId="2216651741" sldId="349"/>
        </pc:sldMkLst>
      </pc:sldChg>
      <pc:sldChg chg="addSp modSp mod">
        <pc:chgData name="Ewen Trafford" userId="e520b4bf-a196-48b7-bc10-b1590a457daa" providerId="ADAL" clId="{40737E46-5C00-4D05-85D2-B2DFEF1BFC90}" dt="2022-08-24T15:07:08.109" v="4601" actId="1076"/>
        <pc:sldMkLst>
          <pc:docMk/>
          <pc:sldMk cId="1044731279" sldId="350"/>
        </pc:sldMkLst>
        <pc:spChg chg="mod">
          <ac:chgData name="Ewen Trafford" userId="e520b4bf-a196-48b7-bc10-b1590a457daa" providerId="ADAL" clId="{40737E46-5C00-4D05-85D2-B2DFEF1BFC90}" dt="2022-08-10T11:00:54.357" v="4373" actId="1076"/>
          <ac:spMkLst>
            <pc:docMk/>
            <pc:sldMk cId="1044731279" sldId="350"/>
            <ac:spMk id="3" creationId="{3F4AB2AE-64C7-4EAD-7377-33BA885C3FC6}"/>
          </ac:spMkLst>
        </pc:spChg>
        <pc:spChg chg="add mod">
          <ac:chgData name="Ewen Trafford" userId="e520b4bf-a196-48b7-bc10-b1590a457daa" providerId="ADAL" clId="{40737E46-5C00-4D05-85D2-B2DFEF1BFC90}" dt="2022-08-10T11:01:03.527" v="4375" actId="1076"/>
          <ac:spMkLst>
            <pc:docMk/>
            <pc:sldMk cId="1044731279" sldId="350"/>
            <ac:spMk id="4" creationId="{09F9000F-7818-C7CD-8F89-C912622960FD}"/>
          </ac:spMkLst>
        </pc:spChg>
        <pc:spChg chg="add mod">
          <ac:chgData name="Ewen Trafford" userId="e520b4bf-a196-48b7-bc10-b1590a457daa" providerId="ADAL" clId="{40737E46-5C00-4D05-85D2-B2DFEF1BFC90}" dt="2022-08-10T11:01:01.070" v="4374" actId="1076"/>
          <ac:spMkLst>
            <pc:docMk/>
            <pc:sldMk cId="1044731279" sldId="350"/>
            <ac:spMk id="5" creationId="{53E70E65-4207-2327-7511-FB0D6E1AF943}"/>
          </ac:spMkLst>
        </pc:spChg>
        <pc:spChg chg="add mod">
          <ac:chgData name="Ewen Trafford" userId="e520b4bf-a196-48b7-bc10-b1590a457daa" providerId="ADAL" clId="{40737E46-5C00-4D05-85D2-B2DFEF1BFC90}" dt="2022-08-24T15:07:08.109" v="4601" actId="1076"/>
          <ac:spMkLst>
            <pc:docMk/>
            <pc:sldMk cId="1044731279" sldId="350"/>
            <ac:spMk id="7" creationId="{83BEADFA-7F5D-901E-C298-ECA44EE5CF43}"/>
          </ac:spMkLst>
        </pc:spChg>
        <pc:picChg chg="add mod">
          <ac:chgData name="Ewen Trafford" userId="e520b4bf-a196-48b7-bc10-b1590a457daa" providerId="ADAL" clId="{40737E46-5C00-4D05-85D2-B2DFEF1BFC90}" dt="2022-08-24T15:07:08.109" v="4601" actId="1076"/>
          <ac:picMkLst>
            <pc:docMk/>
            <pc:sldMk cId="1044731279" sldId="350"/>
            <ac:picMk id="6" creationId="{C4E96B97-798B-108D-D803-E748921067A3}"/>
          </ac:picMkLst>
        </pc:picChg>
        <pc:picChg chg="add mod">
          <ac:chgData name="Ewen Trafford" userId="e520b4bf-a196-48b7-bc10-b1590a457daa" providerId="ADAL" clId="{40737E46-5C00-4D05-85D2-B2DFEF1BFC90}" dt="2022-08-24T15:07:08.109" v="4601" actId="1076"/>
          <ac:picMkLst>
            <pc:docMk/>
            <pc:sldMk cId="1044731279" sldId="350"/>
            <ac:picMk id="8" creationId="{A2AEB68A-CA3F-C8C3-03BD-5627C141E9E5}"/>
          </ac:picMkLst>
        </pc:picChg>
      </pc:sldChg>
      <pc:sldChg chg="addSp modSp mod">
        <pc:chgData name="Ewen Trafford" userId="e520b4bf-a196-48b7-bc10-b1590a457daa" providerId="ADAL" clId="{40737E46-5C00-4D05-85D2-B2DFEF1BFC90}" dt="2022-08-24T14:51:54.973" v="4599"/>
        <pc:sldMkLst>
          <pc:docMk/>
          <pc:sldMk cId="1109679171" sldId="354"/>
        </pc:sldMkLst>
        <pc:spChg chg="mod">
          <ac:chgData name="Ewen Trafford" userId="e520b4bf-a196-48b7-bc10-b1590a457daa" providerId="ADAL" clId="{40737E46-5C00-4D05-85D2-B2DFEF1BFC90}" dt="2022-08-24T14:51:54.973" v="4599"/>
          <ac:spMkLst>
            <pc:docMk/>
            <pc:sldMk cId="1109679171" sldId="354"/>
            <ac:spMk id="3" creationId="{5204CA75-A31A-AD47-DC3C-C19E15F38F87}"/>
          </ac:spMkLst>
        </pc:spChg>
        <pc:spChg chg="add mod">
          <ac:chgData name="Ewen Trafford" userId="e520b4bf-a196-48b7-bc10-b1590a457daa" providerId="ADAL" clId="{40737E46-5C00-4D05-85D2-B2DFEF1BFC90}" dt="2022-08-10T07:08:43.802" v="1536" actId="1076"/>
          <ac:spMkLst>
            <pc:docMk/>
            <pc:sldMk cId="1109679171" sldId="354"/>
            <ac:spMk id="4" creationId="{1C33AC9A-9D8A-AE30-CC3E-02F017C1DF13}"/>
          </ac:spMkLst>
        </pc:spChg>
      </pc:sldChg>
      <pc:sldChg chg="addSp delSp modSp mod ord">
        <pc:chgData name="Ewen Trafford" userId="e520b4bf-a196-48b7-bc10-b1590a457daa" providerId="ADAL" clId="{40737E46-5C00-4D05-85D2-B2DFEF1BFC90}" dt="2022-08-10T11:10:10.144" v="4591" actId="1076"/>
        <pc:sldMkLst>
          <pc:docMk/>
          <pc:sldMk cId="3446911517" sldId="357"/>
        </pc:sldMkLst>
        <pc:spChg chg="mod">
          <ac:chgData name="Ewen Trafford" userId="e520b4bf-a196-48b7-bc10-b1590a457daa" providerId="ADAL" clId="{40737E46-5C00-4D05-85D2-B2DFEF1BFC90}" dt="2022-08-10T11:08:29.714" v="4487" actId="1076"/>
          <ac:spMkLst>
            <pc:docMk/>
            <pc:sldMk cId="3446911517" sldId="357"/>
            <ac:spMk id="2" creationId="{8C8F01D9-49FA-6C29-3674-01A422037CD5}"/>
          </ac:spMkLst>
        </pc:spChg>
        <pc:spChg chg="mod">
          <ac:chgData name="Ewen Trafford" userId="e520b4bf-a196-48b7-bc10-b1590a457daa" providerId="ADAL" clId="{40737E46-5C00-4D05-85D2-B2DFEF1BFC90}" dt="2022-08-10T10:39:34.271" v="3417" actId="14100"/>
          <ac:spMkLst>
            <pc:docMk/>
            <pc:sldMk cId="3446911517" sldId="357"/>
            <ac:spMk id="3" creationId="{11F1639A-5BD0-7C4B-622B-50E9B9EA0EE0}"/>
          </ac:spMkLst>
        </pc:spChg>
        <pc:spChg chg="add mod">
          <ac:chgData name="Ewen Trafford" userId="e520b4bf-a196-48b7-bc10-b1590a457daa" providerId="ADAL" clId="{40737E46-5C00-4D05-85D2-B2DFEF1BFC90}" dt="2022-08-10T11:06:43.026" v="4465" actId="20577"/>
          <ac:spMkLst>
            <pc:docMk/>
            <pc:sldMk cId="3446911517" sldId="357"/>
            <ac:spMk id="6" creationId="{F432AE81-8671-C95A-C5BB-64B35736950C}"/>
          </ac:spMkLst>
        </pc:spChg>
        <pc:spChg chg="add mod">
          <ac:chgData name="Ewen Trafford" userId="e520b4bf-a196-48b7-bc10-b1590a457daa" providerId="ADAL" clId="{40737E46-5C00-4D05-85D2-B2DFEF1BFC90}" dt="2022-08-10T11:09:06.501" v="4492" actId="164"/>
          <ac:spMkLst>
            <pc:docMk/>
            <pc:sldMk cId="3446911517" sldId="357"/>
            <ac:spMk id="7" creationId="{BE6BB448-ABDF-B324-2F61-51E9B1AC6670}"/>
          </ac:spMkLst>
        </pc:spChg>
        <pc:spChg chg="add mod">
          <ac:chgData name="Ewen Trafford" userId="e520b4bf-a196-48b7-bc10-b1590a457daa" providerId="ADAL" clId="{40737E46-5C00-4D05-85D2-B2DFEF1BFC90}" dt="2022-08-10T11:06:17.581" v="4455" actId="164"/>
          <ac:spMkLst>
            <pc:docMk/>
            <pc:sldMk cId="3446911517" sldId="357"/>
            <ac:spMk id="8" creationId="{DB3032F4-EEA3-E341-3ED4-BFD9375CF8C3}"/>
          </ac:spMkLst>
        </pc:spChg>
        <pc:spChg chg="mod topLvl">
          <ac:chgData name="Ewen Trafford" userId="e520b4bf-a196-48b7-bc10-b1590a457daa" providerId="ADAL" clId="{40737E46-5C00-4D05-85D2-B2DFEF1BFC90}" dt="2022-08-10T11:06:17.581" v="4455" actId="164"/>
          <ac:spMkLst>
            <pc:docMk/>
            <pc:sldMk cId="3446911517" sldId="357"/>
            <ac:spMk id="11" creationId="{A3476B67-6258-64C2-83A9-7AB2348A1439}"/>
          </ac:spMkLst>
        </pc:spChg>
        <pc:spChg chg="add del mod topLvl">
          <ac:chgData name="Ewen Trafford" userId="e520b4bf-a196-48b7-bc10-b1590a457daa" providerId="ADAL" clId="{40737E46-5C00-4D05-85D2-B2DFEF1BFC90}" dt="2022-08-10T11:06:17.581" v="4455" actId="164"/>
          <ac:spMkLst>
            <pc:docMk/>
            <pc:sldMk cId="3446911517" sldId="357"/>
            <ac:spMk id="13" creationId="{D10238AF-E9C0-456C-13A4-AB1A81B3D6F1}"/>
          </ac:spMkLst>
        </pc:spChg>
        <pc:spChg chg="add del mod topLvl">
          <ac:chgData name="Ewen Trafford" userId="e520b4bf-a196-48b7-bc10-b1590a457daa" providerId="ADAL" clId="{40737E46-5C00-4D05-85D2-B2DFEF1BFC90}" dt="2022-08-10T11:06:17.581" v="4455" actId="164"/>
          <ac:spMkLst>
            <pc:docMk/>
            <pc:sldMk cId="3446911517" sldId="357"/>
            <ac:spMk id="14" creationId="{084D6AA7-B14A-7357-7264-D774608B00BB}"/>
          </ac:spMkLst>
        </pc:spChg>
        <pc:spChg chg="mod topLvl">
          <ac:chgData name="Ewen Trafford" userId="e520b4bf-a196-48b7-bc10-b1590a457daa" providerId="ADAL" clId="{40737E46-5C00-4D05-85D2-B2DFEF1BFC90}" dt="2022-08-10T11:06:17.581" v="4455" actId="164"/>
          <ac:spMkLst>
            <pc:docMk/>
            <pc:sldMk cId="3446911517" sldId="357"/>
            <ac:spMk id="15" creationId="{D0182745-450A-15DF-C5A8-CC2DF83CF8C9}"/>
          </ac:spMkLst>
        </pc:spChg>
        <pc:spChg chg="mod topLvl">
          <ac:chgData name="Ewen Trafford" userId="e520b4bf-a196-48b7-bc10-b1590a457daa" providerId="ADAL" clId="{40737E46-5C00-4D05-85D2-B2DFEF1BFC90}" dt="2022-08-10T11:06:17.581" v="4455" actId="164"/>
          <ac:spMkLst>
            <pc:docMk/>
            <pc:sldMk cId="3446911517" sldId="357"/>
            <ac:spMk id="16" creationId="{C066F1AB-8E0F-E5E7-A67C-628E8A594A4E}"/>
          </ac:spMkLst>
        </pc:spChg>
        <pc:spChg chg="mod">
          <ac:chgData name="Ewen Trafford" userId="e520b4bf-a196-48b7-bc10-b1590a457daa" providerId="ADAL" clId="{40737E46-5C00-4D05-85D2-B2DFEF1BFC90}" dt="2022-08-10T11:04:25.215" v="4430" actId="207"/>
          <ac:spMkLst>
            <pc:docMk/>
            <pc:sldMk cId="3446911517" sldId="357"/>
            <ac:spMk id="22" creationId="{CE169CE0-7A24-C8FE-1911-A8F50BD9BEB0}"/>
          </ac:spMkLst>
        </pc:spChg>
        <pc:spChg chg="add mod">
          <ac:chgData name="Ewen Trafford" userId="e520b4bf-a196-48b7-bc10-b1590a457daa" providerId="ADAL" clId="{40737E46-5C00-4D05-85D2-B2DFEF1BFC90}" dt="2022-08-10T11:06:17.581" v="4455" actId="164"/>
          <ac:spMkLst>
            <pc:docMk/>
            <pc:sldMk cId="3446911517" sldId="357"/>
            <ac:spMk id="23" creationId="{CDFE1C11-B271-4B46-7F26-54A2E9547224}"/>
          </ac:spMkLst>
        </pc:spChg>
        <pc:spChg chg="mod">
          <ac:chgData name="Ewen Trafford" userId="e520b4bf-a196-48b7-bc10-b1590a457daa" providerId="ADAL" clId="{40737E46-5C00-4D05-85D2-B2DFEF1BFC90}" dt="2022-08-10T11:04:17.213" v="4429" actId="571"/>
          <ac:spMkLst>
            <pc:docMk/>
            <pc:sldMk cId="3446911517" sldId="357"/>
            <ac:spMk id="30" creationId="{B71C84AE-E6F5-67D5-A871-9D0D29F01A7A}"/>
          </ac:spMkLst>
        </pc:spChg>
        <pc:spChg chg="add mod">
          <ac:chgData name="Ewen Trafford" userId="e520b4bf-a196-48b7-bc10-b1590a457daa" providerId="ADAL" clId="{40737E46-5C00-4D05-85D2-B2DFEF1BFC90}" dt="2022-08-10T11:04:17.213" v="4429" actId="571"/>
          <ac:spMkLst>
            <pc:docMk/>
            <pc:sldMk cId="3446911517" sldId="357"/>
            <ac:spMk id="31" creationId="{F13453A1-5399-4FD7-1281-D87B4D5A5502}"/>
          </ac:spMkLst>
        </pc:spChg>
        <pc:spChg chg="mod">
          <ac:chgData name="Ewen Trafford" userId="e520b4bf-a196-48b7-bc10-b1590a457daa" providerId="ADAL" clId="{40737E46-5C00-4D05-85D2-B2DFEF1BFC90}" dt="2022-08-10T11:05:28.150" v="4448" actId="1076"/>
          <ac:spMkLst>
            <pc:docMk/>
            <pc:sldMk cId="3446911517" sldId="357"/>
            <ac:spMk id="38" creationId="{88E23A2E-8FD9-67A5-82F7-C437213ABF16}"/>
          </ac:spMkLst>
        </pc:spChg>
        <pc:spChg chg="add del mod">
          <ac:chgData name="Ewen Trafford" userId="e520b4bf-a196-48b7-bc10-b1590a457daa" providerId="ADAL" clId="{40737E46-5C00-4D05-85D2-B2DFEF1BFC90}" dt="2022-08-10T11:07:54.717" v="4473" actId="478"/>
          <ac:spMkLst>
            <pc:docMk/>
            <pc:sldMk cId="3446911517" sldId="357"/>
            <ac:spMk id="41" creationId="{7643C1C7-304E-CA15-6CB4-9287169DB7F0}"/>
          </ac:spMkLst>
        </pc:spChg>
        <pc:spChg chg="add mod">
          <ac:chgData name="Ewen Trafford" userId="e520b4bf-a196-48b7-bc10-b1590a457daa" providerId="ADAL" clId="{40737E46-5C00-4D05-85D2-B2DFEF1BFC90}" dt="2022-08-10T11:08:58.377" v="4490" actId="164"/>
          <ac:spMkLst>
            <pc:docMk/>
            <pc:sldMk cId="3446911517" sldId="357"/>
            <ac:spMk id="42" creationId="{D8584991-62F7-5DB9-1602-9E99195D15B3}"/>
          </ac:spMkLst>
        </pc:spChg>
        <pc:spChg chg="add mod">
          <ac:chgData name="Ewen Trafford" userId="e520b4bf-a196-48b7-bc10-b1590a457daa" providerId="ADAL" clId="{40737E46-5C00-4D05-85D2-B2DFEF1BFC90}" dt="2022-08-10T11:09:14.668" v="4495" actId="1076"/>
          <ac:spMkLst>
            <pc:docMk/>
            <pc:sldMk cId="3446911517" sldId="357"/>
            <ac:spMk id="43" creationId="{F05D3B29-3424-F95E-C81F-7CF805FE5D1A}"/>
          </ac:spMkLst>
        </pc:spChg>
        <pc:spChg chg="add mod">
          <ac:chgData name="Ewen Trafford" userId="e520b4bf-a196-48b7-bc10-b1590a457daa" providerId="ADAL" clId="{40737E46-5C00-4D05-85D2-B2DFEF1BFC90}" dt="2022-08-10T11:08:58.377" v="4490" actId="164"/>
          <ac:spMkLst>
            <pc:docMk/>
            <pc:sldMk cId="3446911517" sldId="357"/>
            <ac:spMk id="44" creationId="{182DD863-05A3-2033-C724-A148582D9D2A}"/>
          </ac:spMkLst>
        </pc:spChg>
        <pc:spChg chg="add del mod">
          <ac:chgData name="Ewen Trafford" userId="e520b4bf-a196-48b7-bc10-b1590a457daa" providerId="ADAL" clId="{40737E46-5C00-4D05-85D2-B2DFEF1BFC90}" dt="2022-08-10T11:07:54.049" v="4472" actId="478"/>
          <ac:spMkLst>
            <pc:docMk/>
            <pc:sldMk cId="3446911517" sldId="357"/>
            <ac:spMk id="45" creationId="{4CD030C9-F125-4D76-1F70-E5403703AD32}"/>
          </ac:spMkLst>
        </pc:spChg>
        <pc:spChg chg="add del mod">
          <ac:chgData name="Ewen Trafford" userId="e520b4bf-a196-48b7-bc10-b1590a457daa" providerId="ADAL" clId="{40737E46-5C00-4D05-85D2-B2DFEF1BFC90}" dt="2022-08-10T11:07:52.041" v="4471" actId="478"/>
          <ac:spMkLst>
            <pc:docMk/>
            <pc:sldMk cId="3446911517" sldId="357"/>
            <ac:spMk id="46" creationId="{38D5CF61-7267-CEF0-0051-444E8E8B9FC4}"/>
          </ac:spMkLst>
        </pc:spChg>
        <pc:spChg chg="add del mod">
          <ac:chgData name="Ewen Trafford" userId="e520b4bf-a196-48b7-bc10-b1590a457daa" providerId="ADAL" clId="{40737E46-5C00-4D05-85D2-B2DFEF1BFC90}" dt="2022-08-10T11:07:55.437" v="4474" actId="478"/>
          <ac:spMkLst>
            <pc:docMk/>
            <pc:sldMk cId="3446911517" sldId="357"/>
            <ac:spMk id="47" creationId="{8DFAB14E-AD8B-A3F3-CE7C-C53C00B2B3B2}"/>
          </ac:spMkLst>
        </pc:spChg>
        <pc:spChg chg="add mod">
          <ac:chgData name="Ewen Trafford" userId="e520b4bf-a196-48b7-bc10-b1590a457daa" providerId="ADAL" clId="{40737E46-5C00-4D05-85D2-B2DFEF1BFC90}" dt="2022-08-10T11:10:10.144" v="4591" actId="1076"/>
          <ac:spMkLst>
            <pc:docMk/>
            <pc:sldMk cId="3446911517" sldId="357"/>
            <ac:spMk id="50" creationId="{6DD81FE3-9AA0-CD99-EB0F-DAD4A8A8571A}"/>
          </ac:spMkLst>
        </pc:spChg>
        <pc:spChg chg="add mod">
          <ac:chgData name="Ewen Trafford" userId="e520b4bf-a196-48b7-bc10-b1590a457daa" providerId="ADAL" clId="{40737E46-5C00-4D05-85D2-B2DFEF1BFC90}" dt="2022-08-10T11:10:06.705" v="4590" actId="1076"/>
          <ac:spMkLst>
            <pc:docMk/>
            <pc:sldMk cId="3446911517" sldId="357"/>
            <ac:spMk id="51" creationId="{79D2A382-FBB1-B9E4-4312-2CBCB1C4473B}"/>
          </ac:spMkLst>
        </pc:spChg>
        <pc:grpChg chg="add del mod">
          <ac:chgData name="Ewen Trafford" userId="e520b4bf-a196-48b7-bc10-b1590a457daa" providerId="ADAL" clId="{40737E46-5C00-4D05-85D2-B2DFEF1BFC90}" dt="2022-08-10T11:03:53.001" v="4424" actId="165"/>
          <ac:grpSpMkLst>
            <pc:docMk/>
            <pc:sldMk cId="3446911517" sldId="357"/>
            <ac:grpSpMk id="9" creationId="{928593F8-F53E-7992-87C9-2D56467EE034}"/>
          </ac:grpSpMkLst>
        </pc:grpChg>
        <pc:grpChg chg="mod topLvl">
          <ac:chgData name="Ewen Trafford" userId="e520b4bf-a196-48b7-bc10-b1590a457daa" providerId="ADAL" clId="{40737E46-5C00-4D05-85D2-B2DFEF1BFC90}" dt="2022-08-10T11:06:17.581" v="4455" actId="164"/>
          <ac:grpSpMkLst>
            <pc:docMk/>
            <pc:sldMk cId="3446911517" sldId="357"/>
            <ac:grpSpMk id="10" creationId="{27CD096F-5A61-143F-607D-A3142ECBFA68}"/>
          </ac:grpSpMkLst>
        </pc:grpChg>
        <pc:grpChg chg="mod">
          <ac:chgData name="Ewen Trafford" userId="e520b4bf-a196-48b7-bc10-b1590a457daa" providerId="ADAL" clId="{40737E46-5C00-4D05-85D2-B2DFEF1BFC90}" dt="2022-08-10T11:03:53.001" v="4424" actId="165"/>
          <ac:grpSpMkLst>
            <pc:docMk/>
            <pc:sldMk cId="3446911517" sldId="357"/>
            <ac:grpSpMk id="17" creationId="{6D4F5337-9D8A-16F2-290C-6F04DD0FB34D}"/>
          </ac:grpSpMkLst>
        </pc:grpChg>
        <pc:grpChg chg="add mod">
          <ac:chgData name="Ewen Trafford" userId="e520b4bf-a196-48b7-bc10-b1590a457daa" providerId="ADAL" clId="{40737E46-5C00-4D05-85D2-B2DFEF1BFC90}" dt="2022-08-10T11:04:17.213" v="4429" actId="571"/>
          <ac:grpSpMkLst>
            <pc:docMk/>
            <pc:sldMk cId="3446911517" sldId="357"/>
            <ac:grpSpMk id="24" creationId="{FAC212AD-2DA7-5587-1934-F56FB08246E8}"/>
          </ac:grpSpMkLst>
        </pc:grpChg>
        <pc:grpChg chg="mod">
          <ac:chgData name="Ewen Trafford" userId="e520b4bf-a196-48b7-bc10-b1590a457daa" providerId="ADAL" clId="{40737E46-5C00-4D05-85D2-B2DFEF1BFC90}" dt="2022-08-10T11:04:17.213" v="4429" actId="571"/>
          <ac:grpSpMkLst>
            <pc:docMk/>
            <pc:sldMk cId="3446911517" sldId="357"/>
            <ac:grpSpMk id="25" creationId="{1AA8E0CD-01ED-2719-D1AA-15F50779D7C3}"/>
          </ac:grpSpMkLst>
        </pc:grpChg>
        <pc:grpChg chg="add del mod">
          <ac:chgData name="Ewen Trafford" userId="e520b4bf-a196-48b7-bc10-b1590a457daa" providerId="ADAL" clId="{40737E46-5C00-4D05-85D2-B2DFEF1BFC90}" dt="2022-08-10T11:05:18.645" v="4445" actId="478"/>
          <ac:grpSpMkLst>
            <pc:docMk/>
            <pc:sldMk cId="3446911517" sldId="357"/>
            <ac:grpSpMk id="32" creationId="{65F32DA4-4F4B-8607-3ED3-1811D2907CF4}"/>
          </ac:grpSpMkLst>
        </pc:grpChg>
        <pc:grpChg chg="mod topLvl">
          <ac:chgData name="Ewen Trafford" userId="e520b4bf-a196-48b7-bc10-b1590a457daa" providerId="ADAL" clId="{40737E46-5C00-4D05-85D2-B2DFEF1BFC90}" dt="2022-08-10T11:06:17.581" v="4455" actId="164"/>
          <ac:grpSpMkLst>
            <pc:docMk/>
            <pc:sldMk cId="3446911517" sldId="357"/>
            <ac:grpSpMk id="33" creationId="{92F4C38F-95DF-1EED-B750-643A730A7B7C}"/>
          </ac:grpSpMkLst>
        </pc:grpChg>
        <pc:grpChg chg="add mod">
          <ac:chgData name="Ewen Trafford" userId="e520b4bf-a196-48b7-bc10-b1590a457daa" providerId="ADAL" clId="{40737E46-5C00-4D05-85D2-B2DFEF1BFC90}" dt="2022-08-10T11:09:06.501" v="4492" actId="164"/>
          <ac:grpSpMkLst>
            <pc:docMk/>
            <pc:sldMk cId="3446911517" sldId="357"/>
            <ac:grpSpMk id="39" creationId="{F184FE44-6A84-2928-E1CB-5CE3BC0BCFDF}"/>
          </ac:grpSpMkLst>
        </pc:grpChg>
        <pc:grpChg chg="add mod">
          <ac:chgData name="Ewen Trafford" userId="e520b4bf-a196-48b7-bc10-b1590a457daa" providerId="ADAL" clId="{40737E46-5C00-4D05-85D2-B2DFEF1BFC90}" dt="2022-08-10T11:09:06.501" v="4492" actId="164"/>
          <ac:grpSpMkLst>
            <pc:docMk/>
            <pc:sldMk cId="3446911517" sldId="357"/>
            <ac:grpSpMk id="40" creationId="{B44F1AEE-30A1-3255-0C28-3806506D501D}"/>
          </ac:grpSpMkLst>
        </pc:grpChg>
        <pc:grpChg chg="add mod">
          <ac:chgData name="Ewen Trafford" userId="e520b4bf-a196-48b7-bc10-b1590a457daa" providerId="ADAL" clId="{40737E46-5C00-4D05-85D2-B2DFEF1BFC90}" dt="2022-08-10T11:10:10.144" v="4591" actId="1076"/>
          <ac:grpSpMkLst>
            <pc:docMk/>
            <pc:sldMk cId="3446911517" sldId="357"/>
            <ac:grpSpMk id="48" creationId="{B3A69A13-E4A3-E6C1-1DAD-5246576F04F3}"/>
          </ac:grpSpMkLst>
        </pc:grpChg>
        <pc:grpChg chg="add mod">
          <ac:chgData name="Ewen Trafford" userId="e520b4bf-a196-48b7-bc10-b1590a457daa" providerId="ADAL" clId="{40737E46-5C00-4D05-85D2-B2DFEF1BFC90}" dt="2022-08-10T11:10:06.705" v="4590" actId="1076"/>
          <ac:grpSpMkLst>
            <pc:docMk/>
            <pc:sldMk cId="3446911517" sldId="357"/>
            <ac:grpSpMk id="49" creationId="{70C5AFD1-06B5-C05F-A2E1-55E80576C28A}"/>
          </ac:grpSpMkLst>
        </pc:grpChg>
        <pc:picChg chg="add mod">
          <ac:chgData name="Ewen Trafford" userId="e520b4bf-a196-48b7-bc10-b1590a457daa" providerId="ADAL" clId="{40737E46-5C00-4D05-85D2-B2DFEF1BFC90}" dt="2022-08-10T11:06:33.324" v="4462" actId="1076"/>
          <ac:picMkLst>
            <pc:docMk/>
            <pc:sldMk cId="3446911517" sldId="357"/>
            <ac:picMk id="4" creationId="{3F50765C-7DDE-57E9-D2BE-C4A6E357CB07}"/>
          </ac:picMkLst>
        </pc:picChg>
        <pc:picChg chg="add mod">
          <ac:chgData name="Ewen Trafford" userId="e520b4bf-a196-48b7-bc10-b1590a457daa" providerId="ADAL" clId="{40737E46-5C00-4D05-85D2-B2DFEF1BFC90}" dt="2022-08-10T11:09:06.501" v="4492" actId="164"/>
          <ac:picMkLst>
            <pc:docMk/>
            <pc:sldMk cId="3446911517" sldId="357"/>
            <ac:picMk id="5" creationId="{D5A8A780-8BC3-CE15-D18F-D5D052BF6B52}"/>
          </ac:picMkLst>
        </pc:picChg>
        <pc:cxnChg chg="mod topLvl">
          <ac:chgData name="Ewen Trafford" userId="e520b4bf-a196-48b7-bc10-b1590a457daa" providerId="ADAL" clId="{40737E46-5C00-4D05-85D2-B2DFEF1BFC90}" dt="2022-08-10T11:06:17.581" v="4455" actId="164"/>
          <ac:cxnSpMkLst>
            <pc:docMk/>
            <pc:sldMk cId="3446911517" sldId="357"/>
            <ac:cxnSpMk id="12" creationId="{555F2F9F-5E87-7A09-6E73-0CC443435540}"/>
          </ac:cxnSpMkLst>
        </pc:cxnChg>
        <pc:cxnChg chg="mod">
          <ac:chgData name="Ewen Trafford" userId="e520b4bf-a196-48b7-bc10-b1590a457daa" providerId="ADAL" clId="{40737E46-5C00-4D05-85D2-B2DFEF1BFC90}" dt="2022-08-10T11:03:53.001" v="4424" actId="165"/>
          <ac:cxnSpMkLst>
            <pc:docMk/>
            <pc:sldMk cId="3446911517" sldId="357"/>
            <ac:cxnSpMk id="18" creationId="{84585217-35A6-7FD1-8B95-C43DAE7F7653}"/>
          </ac:cxnSpMkLst>
        </pc:cxnChg>
        <pc:cxnChg chg="mod">
          <ac:chgData name="Ewen Trafford" userId="e520b4bf-a196-48b7-bc10-b1590a457daa" providerId="ADAL" clId="{40737E46-5C00-4D05-85D2-B2DFEF1BFC90}" dt="2022-08-10T11:03:53.001" v="4424" actId="165"/>
          <ac:cxnSpMkLst>
            <pc:docMk/>
            <pc:sldMk cId="3446911517" sldId="357"/>
            <ac:cxnSpMk id="19" creationId="{67512BF2-AB50-9524-E407-ADC5155AD975}"/>
          </ac:cxnSpMkLst>
        </pc:cxnChg>
        <pc:cxnChg chg="mod">
          <ac:chgData name="Ewen Trafford" userId="e520b4bf-a196-48b7-bc10-b1590a457daa" providerId="ADAL" clId="{40737E46-5C00-4D05-85D2-B2DFEF1BFC90}" dt="2022-08-10T11:03:53.001" v="4424" actId="165"/>
          <ac:cxnSpMkLst>
            <pc:docMk/>
            <pc:sldMk cId="3446911517" sldId="357"/>
            <ac:cxnSpMk id="20" creationId="{C3D35153-2DAA-5F20-774B-23FD69D407E2}"/>
          </ac:cxnSpMkLst>
        </pc:cxnChg>
        <pc:cxnChg chg="mod">
          <ac:chgData name="Ewen Trafford" userId="e520b4bf-a196-48b7-bc10-b1590a457daa" providerId="ADAL" clId="{40737E46-5C00-4D05-85D2-B2DFEF1BFC90}" dt="2022-08-10T11:03:53.001" v="4424" actId="165"/>
          <ac:cxnSpMkLst>
            <pc:docMk/>
            <pc:sldMk cId="3446911517" sldId="357"/>
            <ac:cxnSpMk id="21" creationId="{B220AC36-5D6A-E927-7E17-46CED6E45B8A}"/>
          </ac:cxnSpMkLst>
        </pc:cxnChg>
        <pc:cxnChg chg="mod">
          <ac:chgData name="Ewen Trafford" userId="e520b4bf-a196-48b7-bc10-b1590a457daa" providerId="ADAL" clId="{40737E46-5C00-4D05-85D2-B2DFEF1BFC90}" dt="2022-08-10T11:04:17.213" v="4429" actId="571"/>
          <ac:cxnSpMkLst>
            <pc:docMk/>
            <pc:sldMk cId="3446911517" sldId="357"/>
            <ac:cxnSpMk id="26" creationId="{914D9372-E99D-0760-AB44-1DB767F46663}"/>
          </ac:cxnSpMkLst>
        </pc:cxnChg>
        <pc:cxnChg chg="mod">
          <ac:chgData name="Ewen Trafford" userId="e520b4bf-a196-48b7-bc10-b1590a457daa" providerId="ADAL" clId="{40737E46-5C00-4D05-85D2-B2DFEF1BFC90}" dt="2022-08-10T11:04:17.213" v="4429" actId="571"/>
          <ac:cxnSpMkLst>
            <pc:docMk/>
            <pc:sldMk cId="3446911517" sldId="357"/>
            <ac:cxnSpMk id="27" creationId="{194B8281-50B6-3AAF-25A2-7D1011578589}"/>
          </ac:cxnSpMkLst>
        </pc:cxnChg>
        <pc:cxnChg chg="mod">
          <ac:chgData name="Ewen Trafford" userId="e520b4bf-a196-48b7-bc10-b1590a457daa" providerId="ADAL" clId="{40737E46-5C00-4D05-85D2-B2DFEF1BFC90}" dt="2022-08-10T11:04:17.213" v="4429" actId="571"/>
          <ac:cxnSpMkLst>
            <pc:docMk/>
            <pc:sldMk cId="3446911517" sldId="357"/>
            <ac:cxnSpMk id="28" creationId="{A66A4347-37DF-BB45-C67A-9F4F34DE195B}"/>
          </ac:cxnSpMkLst>
        </pc:cxnChg>
        <pc:cxnChg chg="mod">
          <ac:chgData name="Ewen Trafford" userId="e520b4bf-a196-48b7-bc10-b1590a457daa" providerId="ADAL" clId="{40737E46-5C00-4D05-85D2-B2DFEF1BFC90}" dt="2022-08-10T11:04:17.213" v="4429" actId="571"/>
          <ac:cxnSpMkLst>
            <pc:docMk/>
            <pc:sldMk cId="3446911517" sldId="357"/>
            <ac:cxnSpMk id="29" creationId="{9DA4CE7A-BFC1-1CB8-B1A3-0C8332FB3633}"/>
          </ac:cxnSpMkLst>
        </pc:cxnChg>
        <pc:cxnChg chg="del mod topLvl">
          <ac:chgData name="Ewen Trafford" userId="e520b4bf-a196-48b7-bc10-b1590a457daa" providerId="ADAL" clId="{40737E46-5C00-4D05-85D2-B2DFEF1BFC90}" dt="2022-08-10T11:05:18.645" v="4445" actId="478"/>
          <ac:cxnSpMkLst>
            <pc:docMk/>
            <pc:sldMk cId="3446911517" sldId="357"/>
            <ac:cxnSpMk id="34" creationId="{E02DF392-C7B6-0E65-094B-75FA0C98F58C}"/>
          </ac:cxnSpMkLst>
        </pc:cxnChg>
        <pc:cxnChg chg="del mod">
          <ac:chgData name="Ewen Trafford" userId="e520b4bf-a196-48b7-bc10-b1590a457daa" providerId="ADAL" clId="{40737E46-5C00-4D05-85D2-B2DFEF1BFC90}" dt="2022-08-10T11:05:20.247" v="4446" actId="478"/>
          <ac:cxnSpMkLst>
            <pc:docMk/>
            <pc:sldMk cId="3446911517" sldId="357"/>
            <ac:cxnSpMk id="35" creationId="{8E35BB18-14B2-ADFD-2889-92E78D038AE7}"/>
          </ac:cxnSpMkLst>
        </pc:cxnChg>
        <pc:cxnChg chg="mod">
          <ac:chgData name="Ewen Trafford" userId="e520b4bf-a196-48b7-bc10-b1590a457daa" providerId="ADAL" clId="{40737E46-5C00-4D05-85D2-B2DFEF1BFC90}" dt="2022-08-10T11:05:14.749" v="4443"/>
          <ac:cxnSpMkLst>
            <pc:docMk/>
            <pc:sldMk cId="3446911517" sldId="357"/>
            <ac:cxnSpMk id="36" creationId="{6520789B-7BA6-F4D9-B6A1-D5C7CD88295F}"/>
          </ac:cxnSpMkLst>
        </pc:cxnChg>
        <pc:cxnChg chg="mod">
          <ac:chgData name="Ewen Trafford" userId="e520b4bf-a196-48b7-bc10-b1590a457daa" providerId="ADAL" clId="{40737E46-5C00-4D05-85D2-B2DFEF1BFC90}" dt="2022-08-10T11:05:14.749" v="4443"/>
          <ac:cxnSpMkLst>
            <pc:docMk/>
            <pc:sldMk cId="3446911517" sldId="357"/>
            <ac:cxnSpMk id="37" creationId="{9071BD51-569F-B8C4-5212-B6C3525A2B62}"/>
          </ac:cxnSpMkLst>
        </pc:cxnChg>
      </pc:sldChg>
      <pc:sldChg chg="modSp mod ord">
        <pc:chgData name="Ewen Trafford" userId="e520b4bf-a196-48b7-bc10-b1590a457daa" providerId="ADAL" clId="{40737E46-5C00-4D05-85D2-B2DFEF1BFC90}" dt="2022-08-10T06:52:25.747" v="544" actId="1076"/>
        <pc:sldMkLst>
          <pc:docMk/>
          <pc:sldMk cId="3789590919" sldId="358"/>
        </pc:sldMkLst>
        <pc:spChg chg="mod">
          <ac:chgData name="Ewen Trafford" userId="e520b4bf-a196-48b7-bc10-b1590a457daa" providerId="ADAL" clId="{40737E46-5C00-4D05-85D2-B2DFEF1BFC90}" dt="2022-08-10T06:52:20.473" v="543" actId="20577"/>
          <ac:spMkLst>
            <pc:docMk/>
            <pc:sldMk cId="3789590919" sldId="358"/>
            <ac:spMk id="3" creationId="{11F1639A-5BD0-7C4B-622B-50E9B9EA0EE0}"/>
          </ac:spMkLst>
        </pc:spChg>
        <pc:picChg chg="mod">
          <ac:chgData name="Ewen Trafford" userId="e520b4bf-a196-48b7-bc10-b1590a457daa" providerId="ADAL" clId="{40737E46-5C00-4D05-85D2-B2DFEF1BFC90}" dt="2022-08-10T06:52:25.747" v="544" actId="1076"/>
          <ac:picMkLst>
            <pc:docMk/>
            <pc:sldMk cId="3789590919" sldId="358"/>
            <ac:picMk id="4" creationId="{BF2ABAF8-2BCE-7179-7870-5C258FAD33BD}"/>
          </ac:picMkLst>
        </pc:picChg>
      </pc:sldChg>
      <pc:sldChg chg="modSp mod">
        <pc:chgData name="Ewen Trafford" userId="e520b4bf-a196-48b7-bc10-b1590a457daa" providerId="ADAL" clId="{40737E46-5C00-4D05-85D2-B2DFEF1BFC90}" dt="2022-08-10T10:29:03.484" v="3202" actId="1076"/>
        <pc:sldMkLst>
          <pc:docMk/>
          <pc:sldMk cId="231371897" sldId="359"/>
        </pc:sldMkLst>
        <pc:spChg chg="mod">
          <ac:chgData name="Ewen Trafford" userId="e520b4bf-a196-48b7-bc10-b1590a457daa" providerId="ADAL" clId="{40737E46-5C00-4D05-85D2-B2DFEF1BFC90}" dt="2022-08-10T10:29:03.484" v="3202" actId="1076"/>
          <ac:spMkLst>
            <pc:docMk/>
            <pc:sldMk cId="231371897" sldId="359"/>
            <ac:spMk id="2" creationId="{C0656FD1-4489-F55F-822B-620888FD55A9}"/>
          </ac:spMkLst>
        </pc:spChg>
      </pc:sldChg>
      <pc:sldChg chg="addSp delSp modSp mod">
        <pc:chgData name="Ewen Trafford" userId="e520b4bf-a196-48b7-bc10-b1590a457daa" providerId="ADAL" clId="{40737E46-5C00-4D05-85D2-B2DFEF1BFC90}" dt="2022-08-10T10:50:06.503" v="3831" actId="1076"/>
        <pc:sldMkLst>
          <pc:docMk/>
          <pc:sldMk cId="2190163262" sldId="360"/>
        </pc:sldMkLst>
        <pc:picChg chg="add del mod">
          <ac:chgData name="Ewen Trafford" userId="e520b4bf-a196-48b7-bc10-b1590a457daa" providerId="ADAL" clId="{40737E46-5C00-4D05-85D2-B2DFEF1BFC90}" dt="2022-08-10T10:49:47.451" v="3825" actId="478"/>
          <ac:picMkLst>
            <pc:docMk/>
            <pc:sldMk cId="2190163262" sldId="360"/>
            <ac:picMk id="5" creationId="{88651D78-00FB-29E1-BE74-8FEA0F58B72A}"/>
          </ac:picMkLst>
        </pc:picChg>
        <pc:picChg chg="add mod">
          <ac:chgData name="Ewen Trafford" userId="e520b4bf-a196-48b7-bc10-b1590a457daa" providerId="ADAL" clId="{40737E46-5C00-4D05-85D2-B2DFEF1BFC90}" dt="2022-08-10T10:50:06.503" v="3831" actId="1076"/>
          <ac:picMkLst>
            <pc:docMk/>
            <pc:sldMk cId="2190163262" sldId="360"/>
            <ac:picMk id="8" creationId="{68636095-6DBD-1F2C-2D1C-6CF653DC410C}"/>
          </ac:picMkLst>
        </pc:picChg>
      </pc:sldChg>
      <pc:sldChg chg="addSp modSp mod">
        <pc:chgData name="Ewen Trafford" userId="e520b4bf-a196-48b7-bc10-b1590a457daa" providerId="ADAL" clId="{40737E46-5C00-4D05-85D2-B2DFEF1BFC90}" dt="2022-08-10T10:45:38.494" v="3807" actId="1076"/>
        <pc:sldMkLst>
          <pc:docMk/>
          <pc:sldMk cId="3959102856" sldId="361"/>
        </pc:sldMkLst>
        <pc:picChg chg="add mod">
          <ac:chgData name="Ewen Trafford" userId="e520b4bf-a196-48b7-bc10-b1590a457daa" providerId="ADAL" clId="{40737E46-5C00-4D05-85D2-B2DFEF1BFC90}" dt="2022-08-10T10:45:38.494" v="3807" actId="1076"/>
          <ac:picMkLst>
            <pc:docMk/>
            <pc:sldMk cId="3959102856" sldId="361"/>
            <ac:picMk id="5" creationId="{E1470B2F-AEFF-4E66-5F4D-F2A6D57AD3CF}"/>
          </ac:picMkLst>
        </pc:picChg>
      </pc:sldChg>
      <pc:sldChg chg="addSp modSp mod">
        <pc:chgData name="Ewen Trafford" userId="e520b4bf-a196-48b7-bc10-b1590a457daa" providerId="ADAL" clId="{40737E46-5C00-4D05-85D2-B2DFEF1BFC90}" dt="2022-08-10T10:46:08.333" v="3813" actId="1076"/>
        <pc:sldMkLst>
          <pc:docMk/>
          <pc:sldMk cId="2231330319" sldId="362"/>
        </pc:sldMkLst>
        <pc:picChg chg="add mod">
          <ac:chgData name="Ewen Trafford" userId="e520b4bf-a196-48b7-bc10-b1590a457daa" providerId="ADAL" clId="{40737E46-5C00-4D05-85D2-B2DFEF1BFC90}" dt="2022-08-10T10:46:08.333" v="3813" actId="1076"/>
          <ac:picMkLst>
            <pc:docMk/>
            <pc:sldMk cId="2231330319" sldId="362"/>
            <ac:picMk id="5" creationId="{F44E595C-4948-9C65-7815-BC2E14947D8E}"/>
          </ac:picMkLst>
        </pc:picChg>
      </pc:sldChg>
      <pc:sldChg chg="addSp modSp mod">
        <pc:chgData name="Ewen Trafford" userId="e520b4bf-a196-48b7-bc10-b1590a457daa" providerId="ADAL" clId="{40737E46-5C00-4D05-85D2-B2DFEF1BFC90}" dt="2022-08-10T10:44:08.505" v="3783" actId="1076"/>
        <pc:sldMkLst>
          <pc:docMk/>
          <pc:sldMk cId="19998368" sldId="363"/>
        </pc:sldMkLst>
        <pc:picChg chg="add mod">
          <ac:chgData name="Ewen Trafford" userId="e520b4bf-a196-48b7-bc10-b1590a457daa" providerId="ADAL" clId="{40737E46-5C00-4D05-85D2-B2DFEF1BFC90}" dt="2022-08-10T10:44:08.505" v="3783" actId="1076"/>
          <ac:picMkLst>
            <pc:docMk/>
            <pc:sldMk cId="19998368" sldId="363"/>
            <ac:picMk id="5" creationId="{0F7A102C-3C6F-563E-4FC8-388F74CBD969}"/>
          </ac:picMkLst>
        </pc:picChg>
      </pc:sldChg>
      <pc:sldChg chg="addSp modSp mod">
        <pc:chgData name="Ewen Trafford" userId="e520b4bf-a196-48b7-bc10-b1590a457daa" providerId="ADAL" clId="{40737E46-5C00-4D05-85D2-B2DFEF1BFC90}" dt="2022-08-10T10:44:37.377" v="3795" actId="20577"/>
        <pc:sldMkLst>
          <pc:docMk/>
          <pc:sldMk cId="3019760330" sldId="364"/>
        </pc:sldMkLst>
        <pc:spChg chg="mod">
          <ac:chgData name="Ewen Trafford" userId="e520b4bf-a196-48b7-bc10-b1590a457daa" providerId="ADAL" clId="{40737E46-5C00-4D05-85D2-B2DFEF1BFC90}" dt="2022-08-10T10:44:37.377" v="3795" actId="20577"/>
          <ac:spMkLst>
            <pc:docMk/>
            <pc:sldMk cId="3019760330" sldId="364"/>
            <ac:spMk id="3" creationId="{11F1639A-5BD0-7C4B-622B-50E9B9EA0EE0}"/>
          </ac:spMkLst>
        </pc:spChg>
        <pc:picChg chg="add mod">
          <ac:chgData name="Ewen Trafford" userId="e520b4bf-a196-48b7-bc10-b1590a457daa" providerId="ADAL" clId="{40737E46-5C00-4D05-85D2-B2DFEF1BFC90}" dt="2022-08-10T10:44:32.913" v="3791" actId="1076"/>
          <ac:picMkLst>
            <pc:docMk/>
            <pc:sldMk cId="3019760330" sldId="364"/>
            <ac:picMk id="5" creationId="{DFF7D20F-7FB9-EA0A-3EB2-7542CE7A8286}"/>
          </ac:picMkLst>
        </pc:picChg>
      </pc:sldChg>
      <pc:sldChg chg="modSp mod">
        <pc:chgData name="Ewen Trafford" userId="e520b4bf-a196-48b7-bc10-b1590a457daa" providerId="ADAL" clId="{40737E46-5C00-4D05-85D2-B2DFEF1BFC90}" dt="2022-08-30T10:39:30.654" v="4639" actId="404"/>
        <pc:sldMkLst>
          <pc:docMk/>
          <pc:sldMk cId="2710691589" sldId="365"/>
        </pc:sldMkLst>
        <pc:graphicFrameChg chg="mod modGraphic">
          <ac:chgData name="Ewen Trafford" userId="e520b4bf-a196-48b7-bc10-b1590a457daa" providerId="ADAL" clId="{40737E46-5C00-4D05-85D2-B2DFEF1BFC90}" dt="2022-08-30T10:39:30.654" v="4639" actId="404"/>
          <ac:graphicFrameMkLst>
            <pc:docMk/>
            <pc:sldMk cId="2710691589" sldId="365"/>
            <ac:graphicFrameMk id="4" creationId="{852C40F4-3A0C-2C57-5C1A-53EF072895F3}"/>
          </ac:graphicFrameMkLst>
        </pc:graphicFrameChg>
      </pc:sldChg>
      <pc:sldChg chg="addSp modSp add mod">
        <pc:chgData name="Ewen Trafford" userId="e520b4bf-a196-48b7-bc10-b1590a457daa" providerId="ADAL" clId="{40737E46-5C00-4D05-85D2-B2DFEF1BFC90}" dt="2022-08-10T11:01:12.628" v="4377" actId="1076"/>
        <pc:sldMkLst>
          <pc:docMk/>
          <pc:sldMk cId="1358718963" sldId="366"/>
        </pc:sldMkLst>
        <pc:spChg chg="mod">
          <ac:chgData name="Ewen Trafford" userId="e520b4bf-a196-48b7-bc10-b1590a457daa" providerId="ADAL" clId="{40737E46-5C00-4D05-85D2-B2DFEF1BFC90}" dt="2022-08-10T10:39:41.471" v="3430" actId="20577"/>
          <ac:spMkLst>
            <pc:docMk/>
            <pc:sldMk cId="1358718963" sldId="366"/>
            <ac:spMk id="2" creationId="{8C8F01D9-49FA-6C29-3674-01A422037CD5}"/>
          </ac:spMkLst>
        </pc:spChg>
        <pc:spChg chg="mod">
          <ac:chgData name="Ewen Trafford" userId="e520b4bf-a196-48b7-bc10-b1590a457daa" providerId="ADAL" clId="{40737E46-5C00-4D05-85D2-B2DFEF1BFC90}" dt="2022-08-10T10:41:34.313" v="3716" actId="20577"/>
          <ac:spMkLst>
            <pc:docMk/>
            <pc:sldMk cId="1358718963" sldId="366"/>
            <ac:spMk id="3" creationId="{11F1639A-5BD0-7C4B-622B-50E9B9EA0EE0}"/>
          </ac:spMkLst>
        </pc:spChg>
        <pc:picChg chg="add mod">
          <ac:chgData name="Ewen Trafford" userId="e520b4bf-a196-48b7-bc10-b1590a457daa" providerId="ADAL" clId="{40737E46-5C00-4D05-85D2-B2DFEF1BFC90}" dt="2022-08-10T11:01:12.628" v="4377" actId="1076"/>
          <ac:picMkLst>
            <pc:docMk/>
            <pc:sldMk cId="1358718963" sldId="366"/>
            <ac:picMk id="4" creationId="{57BE8BEA-34AE-6BDE-5CF9-8D5C042B2185}"/>
          </ac:picMkLst>
        </pc:picChg>
      </pc:sldChg>
    </pc:docChg>
  </pc:docChgLst>
  <pc:docChgLst>
    <pc:chgData name="Ewen Trafford" userId="e520b4bf-a196-48b7-bc10-b1590a457daa" providerId="ADAL" clId="{37DD1F2C-1944-4F26-87C2-2064975D45C7}"/>
    <pc:docChg chg="undo custSel addSld delSld modSld sldOrd">
      <pc:chgData name="Ewen Trafford" userId="e520b4bf-a196-48b7-bc10-b1590a457daa" providerId="ADAL" clId="{37DD1F2C-1944-4F26-87C2-2064975D45C7}" dt="2022-08-03T09:44:59.535" v="5863" actId="20577"/>
      <pc:docMkLst>
        <pc:docMk/>
      </pc:docMkLst>
      <pc:sldChg chg="modSp">
        <pc:chgData name="Ewen Trafford" userId="e520b4bf-a196-48b7-bc10-b1590a457daa" providerId="ADAL" clId="{37DD1F2C-1944-4F26-87C2-2064975D45C7}" dt="2022-07-26T14:30:32.249" v="1"/>
        <pc:sldMkLst>
          <pc:docMk/>
          <pc:sldMk cId="1955166399" sldId="256"/>
        </pc:sldMkLst>
        <pc:spChg chg="mod">
          <ac:chgData name="Ewen Trafford" userId="e520b4bf-a196-48b7-bc10-b1590a457daa" providerId="ADAL" clId="{37DD1F2C-1944-4F26-87C2-2064975D45C7}" dt="2022-07-26T14:30:32.249" v="1"/>
          <ac:spMkLst>
            <pc:docMk/>
            <pc:sldMk cId="1955166399" sldId="256"/>
            <ac:spMk id="2" creationId="{00000000-0000-0000-0000-000000000000}"/>
          </ac:spMkLst>
        </pc:spChg>
      </pc:sldChg>
      <pc:sldChg chg="modSp">
        <pc:chgData name="Ewen Trafford" userId="e520b4bf-a196-48b7-bc10-b1590a457daa" providerId="ADAL" clId="{37DD1F2C-1944-4F26-87C2-2064975D45C7}" dt="2022-07-26T14:30:32.249" v="1"/>
        <pc:sldMkLst>
          <pc:docMk/>
          <pc:sldMk cId="2302005153" sldId="261"/>
        </pc:sldMkLst>
        <pc:spChg chg="mod">
          <ac:chgData name="Ewen Trafford" userId="e520b4bf-a196-48b7-bc10-b1590a457daa" providerId="ADAL" clId="{37DD1F2C-1944-4F26-87C2-2064975D45C7}" dt="2022-07-26T14:30:32.249" v="1"/>
          <ac:spMkLst>
            <pc:docMk/>
            <pc:sldMk cId="2302005153" sldId="261"/>
            <ac:spMk id="2" creationId="{00000000-0000-0000-0000-000000000000}"/>
          </ac:spMkLst>
        </pc:spChg>
      </pc:sldChg>
      <pc:sldChg chg="modSp mod">
        <pc:chgData name="Ewen Trafford" userId="e520b4bf-a196-48b7-bc10-b1590a457daa" providerId="ADAL" clId="{37DD1F2C-1944-4F26-87C2-2064975D45C7}" dt="2022-07-26T14:31:37.361" v="21" actId="20577"/>
        <pc:sldMkLst>
          <pc:docMk/>
          <pc:sldMk cId="3993973292" sldId="274"/>
        </pc:sldMkLst>
        <pc:spChg chg="mod">
          <ac:chgData name="Ewen Trafford" userId="e520b4bf-a196-48b7-bc10-b1590a457daa" providerId="ADAL" clId="{37DD1F2C-1944-4F26-87C2-2064975D45C7}" dt="2022-07-26T14:30:11.362" v="0"/>
          <ac:spMkLst>
            <pc:docMk/>
            <pc:sldMk cId="3993973292" sldId="274"/>
            <ac:spMk id="2" creationId="{00000000-0000-0000-0000-000000000000}"/>
          </ac:spMkLst>
        </pc:spChg>
        <pc:spChg chg="mod">
          <ac:chgData name="Ewen Trafford" userId="e520b4bf-a196-48b7-bc10-b1590a457daa" providerId="ADAL" clId="{37DD1F2C-1944-4F26-87C2-2064975D45C7}" dt="2022-07-26T14:31:37.361" v="21" actId="20577"/>
          <ac:spMkLst>
            <pc:docMk/>
            <pc:sldMk cId="3993973292" sldId="274"/>
            <ac:spMk id="6" creationId="{A705A842-B67A-1091-B43C-016955CEB56E}"/>
          </ac:spMkLst>
        </pc:spChg>
      </pc:sldChg>
      <pc:sldChg chg="delSp modSp mod">
        <pc:chgData name="Ewen Trafford" userId="e520b4bf-a196-48b7-bc10-b1590a457daa" providerId="ADAL" clId="{37DD1F2C-1944-4F26-87C2-2064975D45C7}" dt="2022-07-26T14:35:48.322" v="377" actId="20577"/>
        <pc:sldMkLst>
          <pc:docMk/>
          <pc:sldMk cId="2831772784" sldId="320"/>
        </pc:sldMkLst>
        <pc:spChg chg="mod">
          <ac:chgData name="Ewen Trafford" userId="e520b4bf-a196-48b7-bc10-b1590a457daa" providerId="ADAL" clId="{37DD1F2C-1944-4F26-87C2-2064975D45C7}" dt="2022-07-26T14:35:48.322" v="377" actId="20577"/>
          <ac:spMkLst>
            <pc:docMk/>
            <pc:sldMk cId="2831772784" sldId="320"/>
            <ac:spMk id="3" creationId="{B08F7FAB-511F-7730-95EA-CDCD60827684}"/>
          </ac:spMkLst>
        </pc:spChg>
        <pc:picChg chg="del">
          <ac:chgData name="Ewen Trafford" userId="e520b4bf-a196-48b7-bc10-b1590a457daa" providerId="ADAL" clId="{37DD1F2C-1944-4F26-87C2-2064975D45C7}" dt="2022-07-26T14:30:40.300" v="3" actId="478"/>
          <ac:picMkLst>
            <pc:docMk/>
            <pc:sldMk cId="2831772784" sldId="320"/>
            <ac:picMk id="8194" creationId="{86C749E3-951D-48B7-AC0D-E75B5DA10A49}"/>
          </ac:picMkLst>
        </pc:picChg>
      </pc:sldChg>
      <pc:sldChg chg="addSp delSp modSp mod ord modAnim">
        <pc:chgData name="Ewen Trafford" userId="e520b4bf-a196-48b7-bc10-b1590a457daa" providerId="ADAL" clId="{37DD1F2C-1944-4F26-87C2-2064975D45C7}" dt="2022-08-03T09:37:55.063" v="5684" actId="20577"/>
        <pc:sldMkLst>
          <pc:docMk/>
          <pc:sldMk cId="1195441026" sldId="321"/>
        </pc:sldMkLst>
        <pc:spChg chg="mod">
          <ac:chgData name="Ewen Trafford" userId="e520b4bf-a196-48b7-bc10-b1590a457daa" providerId="ADAL" clId="{37DD1F2C-1944-4F26-87C2-2064975D45C7}" dt="2022-07-26T14:36:10.312" v="427" actId="20577"/>
          <ac:spMkLst>
            <pc:docMk/>
            <pc:sldMk cId="1195441026" sldId="321"/>
            <ac:spMk id="2" creationId="{8C8F01D9-49FA-6C29-3674-01A422037CD5}"/>
          </ac:spMkLst>
        </pc:spChg>
        <pc:spChg chg="mod">
          <ac:chgData name="Ewen Trafford" userId="e520b4bf-a196-48b7-bc10-b1590a457daa" providerId="ADAL" clId="{37DD1F2C-1944-4F26-87C2-2064975D45C7}" dt="2022-08-03T09:37:55.063" v="5684" actId="20577"/>
          <ac:spMkLst>
            <pc:docMk/>
            <pc:sldMk cId="1195441026" sldId="321"/>
            <ac:spMk id="3" creationId="{11F1639A-5BD0-7C4B-622B-50E9B9EA0EE0}"/>
          </ac:spMkLst>
        </pc:spChg>
        <pc:picChg chg="add mod">
          <ac:chgData name="Ewen Trafford" userId="e520b4bf-a196-48b7-bc10-b1590a457daa" providerId="ADAL" clId="{37DD1F2C-1944-4F26-87C2-2064975D45C7}" dt="2022-08-03T09:30:27.352" v="5168" actId="1076"/>
          <ac:picMkLst>
            <pc:docMk/>
            <pc:sldMk cId="1195441026" sldId="321"/>
            <ac:picMk id="4" creationId="{E28EFFED-B566-4566-BB7A-487FC7AA9569}"/>
          </ac:picMkLst>
        </pc:picChg>
        <pc:picChg chg="del">
          <ac:chgData name="Ewen Trafford" userId="e520b4bf-a196-48b7-bc10-b1590a457daa" providerId="ADAL" clId="{37DD1F2C-1944-4F26-87C2-2064975D45C7}" dt="2022-07-26T14:31:04.359" v="10" actId="478"/>
          <ac:picMkLst>
            <pc:docMk/>
            <pc:sldMk cId="1195441026" sldId="321"/>
            <ac:picMk id="7" creationId="{AD589BE0-4090-487A-9A6C-B1F411F45B18}"/>
          </ac:picMkLst>
        </pc:picChg>
      </pc:sldChg>
      <pc:sldChg chg="addSp delSp modSp mod addCm">
        <pc:chgData name="Ewen Trafford" userId="e520b4bf-a196-48b7-bc10-b1590a457daa" providerId="ADAL" clId="{37DD1F2C-1944-4F26-87C2-2064975D45C7}" dt="2022-08-03T09:39:38.032" v="5715" actId="478"/>
        <pc:sldMkLst>
          <pc:docMk/>
          <pc:sldMk cId="2939149858" sldId="322"/>
        </pc:sldMkLst>
        <pc:spChg chg="mod">
          <ac:chgData name="Ewen Trafford" userId="e520b4bf-a196-48b7-bc10-b1590a457daa" providerId="ADAL" clId="{37DD1F2C-1944-4F26-87C2-2064975D45C7}" dt="2022-08-03T08:16:34.772" v="2433" actId="1076"/>
          <ac:spMkLst>
            <pc:docMk/>
            <pc:sldMk cId="2939149858" sldId="322"/>
            <ac:spMk id="2" creationId="{C0656FD1-4489-F55F-822B-620888FD55A9}"/>
          </ac:spMkLst>
        </pc:spChg>
        <pc:spChg chg="mod">
          <ac:chgData name="Ewen Trafford" userId="e520b4bf-a196-48b7-bc10-b1590a457daa" providerId="ADAL" clId="{37DD1F2C-1944-4F26-87C2-2064975D45C7}" dt="2022-08-03T08:33:29.610" v="2654" actId="1076"/>
          <ac:spMkLst>
            <pc:docMk/>
            <pc:sldMk cId="2939149858" sldId="322"/>
            <ac:spMk id="3" creationId="{BE28E501-5A4E-D1A3-A7D8-65D153A748C4}"/>
          </ac:spMkLst>
        </pc:spChg>
        <pc:spChg chg="mod">
          <ac:chgData name="Ewen Trafford" userId="e520b4bf-a196-48b7-bc10-b1590a457daa" providerId="ADAL" clId="{37DD1F2C-1944-4F26-87C2-2064975D45C7}" dt="2022-08-03T08:39:35.991" v="2831" actId="20577"/>
          <ac:spMkLst>
            <pc:docMk/>
            <pc:sldMk cId="2939149858" sldId="322"/>
            <ac:spMk id="6" creationId="{37F21B2D-0E3B-42DC-85A8-4511EB39D461}"/>
          </ac:spMkLst>
        </pc:spChg>
        <pc:spChg chg="del mod">
          <ac:chgData name="Ewen Trafford" userId="e520b4bf-a196-48b7-bc10-b1590a457daa" providerId="ADAL" clId="{37DD1F2C-1944-4F26-87C2-2064975D45C7}" dt="2022-08-03T08:12:04.426" v="2365" actId="478"/>
          <ac:spMkLst>
            <pc:docMk/>
            <pc:sldMk cId="2939149858" sldId="322"/>
            <ac:spMk id="7" creationId="{72AD0042-5AF9-453E-8A38-C7301965940D}"/>
          </ac:spMkLst>
        </pc:spChg>
        <pc:spChg chg="mod">
          <ac:chgData name="Ewen Trafford" userId="e520b4bf-a196-48b7-bc10-b1590a457daa" providerId="ADAL" clId="{37DD1F2C-1944-4F26-87C2-2064975D45C7}" dt="2022-08-03T08:12:00.410" v="2363"/>
          <ac:spMkLst>
            <pc:docMk/>
            <pc:sldMk cId="2939149858" sldId="322"/>
            <ac:spMk id="17" creationId="{CE01254F-C879-4C3D-937C-949B7F0C384D}"/>
          </ac:spMkLst>
        </pc:spChg>
        <pc:spChg chg="mod">
          <ac:chgData name="Ewen Trafford" userId="e520b4bf-a196-48b7-bc10-b1590a457daa" providerId="ADAL" clId="{37DD1F2C-1944-4F26-87C2-2064975D45C7}" dt="2022-08-03T08:12:00.410" v="2363"/>
          <ac:spMkLst>
            <pc:docMk/>
            <pc:sldMk cId="2939149858" sldId="322"/>
            <ac:spMk id="18" creationId="{F1B8E686-95BF-4630-8E1B-EF93FB2E1B4D}"/>
          </ac:spMkLst>
        </pc:spChg>
        <pc:spChg chg="del mod">
          <ac:chgData name="Ewen Trafford" userId="e520b4bf-a196-48b7-bc10-b1590a457daa" providerId="ADAL" clId="{37DD1F2C-1944-4F26-87C2-2064975D45C7}" dt="2022-08-03T08:12:10.329" v="2369" actId="478"/>
          <ac:spMkLst>
            <pc:docMk/>
            <pc:sldMk cId="2939149858" sldId="322"/>
            <ac:spMk id="19" creationId="{D447AE81-363C-41DF-BC54-D34F5739CC25}"/>
          </ac:spMkLst>
        </pc:spChg>
        <pc:spChg chg="add mod">
          <ac:chgData name="Ewen Trafford" userId="e520b4bf-a196-48b7-bc10-b1590a457daa" providerId="ADAL" clId="{37DD1F2C-1944-4F26-87C2-2064975D45C7}" dt="2022-08-03T08:12:56.984" v="2385" actId="164"/>
          <ac:spMkLst>
            <pc:docMk/>
            <pc:sldMk cId="2939149858" sldId="322"/>
            <ac:spMk id="20" creationId="{8A66D91E-1FC9-4A22-8D1D-A0DCE96414C7}"/>
          </ac:spMkLst>
        </pc:spChg>
        <pc:spChg chg="add mod">
          <ac:chgData name="Ewen Trafford" userId="e520b4bf-a196-48b7-bc10-b1590a457daa" providerId="ADAL" clId="{37DD1F2C-1944-4F26-87C2-2064975D45C7}" dt="2022-08-03T08:12:56.984" v="2385" actId="164"/>
          <ac:spMkLst>
            <pc:docMk/>
            <pc:sldMk cId="2939149858" sldId="322"/>
            <ac:spMk id="21" creationId="{C8D94B06-0329-4FD6-8607-3DA4D836D833}"/>
          </ac:spMkLst>
        </pc:spChg>
        <pc:spChg chg="mod topLvl">
          <ac:chgData name="Ewen Trafford" userId="e520b4bf-a196-48b7-bc10-b1590a457daa" providerId="ADAL" clId="{37DD1F2C-1944-4F26-87C2-2064975D45C7}" dt="2022-08-03T08:23:12.800" v="2486" actId="164"/>
          <ac:spMkLst>
            <pc:docMk/>
            <pc:sldMk cId="2939149858" sldId="322"/>
            <ac:spMk id="24" creationId="{DF1D05F4-6DD4-4367-9E93-8A1907F65A3E}"/>
          </ac:spMkLst>
        </pc:spChg>
        <pc:spChg chg="del mod">
          <ac:chgData name="Ewen Trafford" userId="e520b4bf-a196-48b7-bc10-b1590a457daa" providerId="ADAL" clId="{37DD1F2C-1944-4F26-87C2-2064975D45C7}" dt="2022-08-03T08:21:51.119" v="2469" actId="478"/>
          <ac:spMkLst>
            <pc:docMk/>
            <pc:sldMk cId="2939149858" sldId="322"/>
            <ac:spMk id="25" creationId="{7C086D66-0099-449C-B444-92C86FDD6EC1}"/>
          </ac:spMkLst>
        </pc:spChg>
        <pc:spChg chg="del mod">
          <ac:chgData name="Ewen Trafford" userId="e520b4bf-a196-48b7-bc10-b1590a457daa" providerId="ADAL" clId="{37DD1F2C-1944-4F26-87C2-2064975D45C7}" dt="2022-08-03T08:35:49.809" v="2711" actId="478"/>
          <ac:spMkLst>
            <pc:docMk/>
            <pc:sldMk cId="2939149858" sldId="322"/>
            <ac:spMk id="26" creationId="{7F3D65A3-7058-44A1-9768-B0A3848EFF4C}"/>
          </ac:spMkLst>
        </pc:spChg>
        <pc:spChg chg="mod">
          <ac:chgData name="Ewen Trafford" userId="e520b4bf-a196-48b7-bc10-b1590a457daa" providerId="ADAL" clId="{37DD1F2C-1944-4F26-87C2-2064975D45C7}" dt="2022-08-03T08:31:24.562" v="2630" actId="207"/>
          <ac:spMkLst>
            <pc:docMk/>
            <pc:sldMk cId="2939149858" sldId="322"/>
            <ac:spMk id="32" creationId="{2B571189-1509-46E3-82BE-C24B19F505D9}"/>
          </ac:spMkLst>
        </pc:spChg>
        <pc:spChg chg="add del mod">
          <ac:chgData name="Ewen Trafford" userId="e520b4bf-a196-48b7-bc10-b1590a457daa" providerId="ADAL" clId="{37DD1F2C-1944-4F26-87C2-2064975D45C7}" dt="2022-08-03T08:21:39.338" v="2467" actId="478"/>
          <ac:spMkLst>
            <pc:docMk/>
            <pc:sldMk cId="2939149858" sldId="322"/>
            <ac:spMk id="33" creationId="{BB7245C6-057F-433A-A663-38D3925320C1}"/>
          </ac:spMkLst>
        </pc:spChg>
        <pc:spChg chg="add del mod">
          <ac:chgData name="Ewen Trafford" userId="e520b4bf-a196-48b7-bc10-b1590a457daa" providerId="ADAL" clId="{37DD1F2C-1944-4F26-87C2-2064975D45C7}" dt="2022-08-03T08:21:52.568" v="2470" actId="478"/>
          <ac:spMkLst>
            <pc:docMk/>
            <pc:sldMk cId="2939149858" sldId="322"/>
            <ac:spMk id="34" creationId="{AAEC4419-CB11-450D-A0B6-8828B931EF7C}"/>
          </ac:spMkLst>
        </pc:spChg>
        <pc:spChg chg="add del mod">
          <ac:chgData name="Ewen Trafford" userId="e520b4bf-a196-48b7-bc10-b1590a457daa" providerId="ADAL" clId="{37DD1F2C-1944-4F26-87C2-2064975D45C7}" dt="2022-08-03T08:21:03.008" v="2462" actId="478"/>
          <ac:spMkLst>
            <pc:docMk/>
            <pc:sldMk cId="2939149858" sldId="322"/>
            <ac:spMk id="35" creationId="{2D5DEAC1-DD1D-447B-9A5F-E0E2BC51A349}"/>
          </ac:spMkLst>
        </pc:spChg>
        <pc:spChg chg="add mod">
          <ac:chgData name="Ewen Trafford" userId="e520b4bf-a196-48b7-bc10-b1590a457daa" providerId="ADAL" clId="{37DD1F2C-1944-4F26-87C2-2064975D45C7}" dt="2022-08-03T08:36:58.520" v="2743" actId="207"/>
          <ac:spMkLst>
            <pc:docMk/>
            <pc:sldMk cId="2939149858" sldId="322"/>
            <ac:spMk id="43" creationId="{C4F05184-57EF-46A2-9F7C-78651ECA1C40}"/>
          </ac:spMkLst>
        </pc:spChg>
        <pc:spChg chg="add mod">
          <ac:chgData name="Ewen Trafford" userId="e520b4bf-a196-48b7-bc10-b1590a457daa" providerId="ADAL" clId="{37DD1F2C-1944-4F26-87C2-2064975D45C7}" dt="2022-08-03T08:31:48.557" v="2635" actId="207"/>
          <ac:spMkLst>
            <pc:docMk/>
            <pc:sldMk cId="2939149858" sldId="322"/>
            <ac:spMk id="44" creationId="{C2EAE9CF-C5A9-4397-B40E-8B4628CB51A3}"/>
          </ac:spMkLst>
        </pc:spChg>
        <pc:spChg chg="add mod">
          <ac:chgData name="Ewen Trafford" userId="e520b4bf-a196-48b7-bc10-b1590a457daa" providerId="ADAL" clId="{37DD1F2C-1944-4F26-87C2-2064975D45C7}" dt="2022-08-03T08:36:58.520" v="2743" actId="207"/>
          <ac:spMkLst>
            <pc:docMk/>
            <pc:sldMk cId="2939149858" sldId="322"/>
            <ac:spMk id="45" creationId="{384E5731-FB29-4922-8BB6-DC4808BD0592}"/>
          </ac:spMkLst>
        </pc:spChg>
        <pc:spChg chg="add mod">
          <ac:chgData name="Ewen Trafford" userId="e520b4bf-a196-48b7-bc10-b1590a457daa" providerId="ADAL" clId="{37DD1F2C-1944-4F26-87C2-2064975D45C7}" dt="2022-08-03T08:23:12.800" v="2486" actId="164"/>
          <ac:spMkLst>
            <pc:docMk/>
            <pc:sldMk cId="2939149858" sldId="322"/>
            <ac:spMk id="46" creationId="{771F92C1-174E-4B6B-8FA6-EE46FA885FF2}"/>
          </ac:spMkLst>
        </pc:spChg>
        <pc:spChg chg="mod">
          <ac:chgData name="Ewen Trafford" userId="e520b4bf-a196-48b7-bc10-b1590a457daa" providerId="ADAL" clId="{37DD1F2C-1944-4F26-87C2-2064975D45C7}" dt="2022-08-03T08:25:16.680" v="2558" actId="14100"/>
          <ac:spMkLst>
            <pc:docMk/>
            <pc:sldMk cId="2939149858" sldId="322"/>
            <ac:spMk id="50" creationId="{7DFA2B31-A993-4FE4-A28C-E34EE3489838}"/>
          </ac:spMkLst>
        </pc:spChg>
        <pc:spChg chg="mod">
          <ac:chgData name="Ewen Trafford" userId="e520b4bf-a196-48b7-bc10-b1590a457daa" providerId="ADAL" clId="{37DD1F2C-1944-4F26-87C2-2064975D45C7}" dt="2022-08-03T08:37:09.881" v="2744" actId="207"/>
          <ac:spMkLst>
            <pc:docMk/>
            <pc:sldMk cId="2939149858" sldId="322"/>
            <ac:spMk id="52" creationId="{8746D897-2CDA-4692-B740-5FC6B63F1535}"/>
          </ac:spMkLst>
        </pc:spChg>
        <pc:spChg chg="mod">
          <ac:chgData name="Ewen Trafford" userId="e520b4bf-a196-48b7-bc10-b1590a457daa" providerId="ADAL" clId="{37DD1F2C-1944-4F26-87C2-2064975D45C7}" dt="2022-08-03T08:24:38.345" v="2548"/>
          <ac:spMkLst>
            <pc:docMk/>
            <pc:sldMk cId="2939149858" sldId="322"/>
            <ac:spMk id="53" creationId="{CF8E391B-3380-4629-ACC3-01F55DB9EF77}"/>
          </ac:spMkLst>
        </pc:spChg>
        <pc:spChg chg="mod">
          <ac:chgData name="Ewen Trafford" userId="e520b4bf-a196-48b7-bc10-b1590a457daa" providerId="ADAL" clId="{37DD1F2C-1944-4F26-87C2-2064975D45C7}" dt="2022-08-03T08:37:09.881" v="2744" actId="207"/>
          <ac:spMkLst>
            <pc:docMk/>
            <pc:sldMk cId="2939149858" sldId="322"/>
            <ac:spMk id="54" creationId="{A937109D-8A25-44F6-B42D-9D147F0DB800}"/>
          </ac:spMkLst>
        </pc:spChg>
        <pc:spChg chg="mod">
          <ac:chgData name="Ewen Trafford" userId="e520b4bf-a196-48b7-bc10-b1590a457daa" providerId="ADAL" clId="{37DD1F2C-1944-4F26-87C2-2064975D45C7}" dt="2022-08-03T08:24:38.345" v="2548"/>
          <ac:spMkLst>
            <pc:docMk/>
            <pc:sldMk cId="2939149858" sldId="322"/>
            <ac:spMk id="55" creationId="{2F22C843-61B1-413F-9172-AF2065A0ACE1}"/>
          </ac:spMkLst>
        </pc:spChg>
        <pc:spChg chg="del mod">
          <ac:chgData name="Ewen Trafford" userId="e520b4bf-a196-48b7-bc10-b1590a457daa" providerId="ADAL" clId="{37DD1F2C-1944-4F26-87C2-2064975D45C7}" dt="2022-08-03T08:35:51.789" v="2712" actId="478"/>
          <ac:spMkLst>
            <pc:docMk/>
            <pc:sldMk cId="2939149858" sldId="322"/>
            <ac:spMk id="56" creationId="{C0189F2D-8567-4AAC-B1BE-6A76131AB7B1}"/>
          </ac:spMkLst>
        </pc:spChg>
        <pc:spChg chg="mod">
          <ac:chgData name="Ewen Trafford" userId="e520b4bf-a196-48b7-bc10-b1590a457daa" providerId="ADAL" clId="{37DD1F2C-1944-4F26-87C2-2064975D45C7}" dt="2022-08-03T08:24:38.345" v="2548"/>
          <ac:spMkLst>
            <pc:docMk/>
            <pc:sldMk cId="2939149858" sldId="322"/>
            <ac:spMk id="62" creationId="{1CCF2E51-9261-45A6-8D24-D9D712ED6527}"/>
          </ac:spMkLst>
        </pc:spChg>
        <pc:spChg chg="add mod">
          <ac:chgData name="Ewen Trafford" userId="e520b4bf-a196-48b7-bc10-b1590a457daa" providerId="ADAL" clId="{37DD1F2C-1944-4F26-87C2-2064975D45C7}" dt="2022-08-03T08:35:25.406" v="2707" actId="1076"/>
          <ac:spMkLst>
            <pc:docMk/>
            <pc:sldMk cId="2939149858" sldId="322"/>
            <ac:spMk id="63" creationId="{CC9E04A9-37ED-4519-ACFC-7A87A4B6986A}"/>
          </ac:spMkLst>
        </pc:spChg>
        <pc:spChg chg="add mod">
          <ac:chgData name="Ewen Trafford" userId="e520b4bf-a196-48b7-bc10-b1590a457daa" providerId="ADAL" clId="{37DD1F2C-1944-4F26-87C2-2064975D45C7}" dt="2022-08-03T08:35:25.406" v="2707" actId="1076"/>
          <ac:spMkLst>
            <pc:docMk/>
            <pc:sldMk cId="2939149858" sldId="322"/>
            <ac:spMk id="71" creationId="{68118319-9A0B-4C66-8534-6EEBCD4F1EB8}"/>
          </ac:spMkLst>
        </pc:spChg>
        <pc:spChg chg="add del mod">
          <ac:chgData name="Ewen Trafford" userId="e520b4bf-a196-48b7-bc10-b1590a457daa" providerId="ADAL" clId="{37DD1F2C-1944-4F26-87C2-2064975D45C7}" dt="2022-08-03T08:33:25.151" v="2653" actId="478"/>
          <ac:spMkLst>
            <pc:docMk/>
            <pc:sldMk cId="2939149858" sldId="322"/>
            <ac:spMk id="72" creationId="{B39C6DFC-9064-44AD-B987-5097BABD9E1E}"/>
          </ac:spMkLst>
        </pc:spChg>
        <pc:spChg chg="mod">
          <ac:chgData name="Ewen Trafford" userId="e520b4bf-a196-48b7-bc10-b1590a457daa" providerId="ADAL" clId="{37DD1F2C-1944-4F26-87C2-2064975D45C7}" dt="2022-08-03T08:27:13.834" v="2586"/>
          <ac:spMkLst>
            <pc:docMk/>
            <pc:sldMk cId="2939149858" sldId="322"/>
            <ac:spMk id="75" creationId="{8A5BD31E-E7A5-4B54-9586-C3DCDB54EE10}"/>
          </ac:spMkLst>
        </pc:spChg>
        <pc:spChg chg="mod">
          <ac:chgData name="Ewen Trafford" userId="e520b4bf-a196-48b7-bc10-b1590a457daa" providerId="ADAL" clId="{37DD1F2C-1944-4F26-87C2-2064975D45C7}" dt="2022-08-03T08:27:13.834" v="2586"/>
          <ac:spMkLst>
            <pc:docMk/>
            <pc:sldMk cId="2939149858" sldId="322"/>
            <ac:spMk id="77" creationId="{1A8872AB-0659-4761-B9A0-748E4CE402E3}"/>
          </ac:spMkLst>
        </pc:spChg>
        <pc:spChg chg="mod">
          <ac:chgData name="Ewen Trafford" userId="e520b4bf-a196-48b7-bc10-b1590a457daa" providerId="ADAL" clId="{37DD1F2C-1944-4F26-87C2-2064975D45C7}" dt="2022-08-03T08:27:13.834" v="2586"/>
          <ac:spMkLst>
            <pc:docMk/>
            <pc:sldMk cId="2939149858" sldId="322"/>
            <ac:spMk id="78" creationId="{3817B59B-BACC-4B5F-B326-5BFCE43C56CE}"/>
          </ac:spMkLst>
        </pc:spChg>
        <pc:spChg chg="mod">
          <ac:chgData name="Ewen Trafford" userId="e520b4bf-a196-48b7-bc10-b1590a457daa" providerId="ADAL" clId="{37DD1F2C-1944-4F26-87C2-2064975D45C7}" dt="2022-08-03T08:27:13.834" v="2586"/>
          <ac:spMkLst>
            <pc:docMk/>
            <pc:sldMk cId="2939149858" sldId="322"/>
            <ac:spMk id="79" creationId="{2A8B24B6-90D8-4975-B5F4-D5D2B21C18A3}"/>
          </ac:spMkLst>
        </pc:spChg>
        <pc:spChg chg="mod">
          <ac:chgData name="Ewen Trafford" userId="e520b4bf-a196-48b7-bc10-b1590a457daa" providerId="ADAL" clId="{37DD1F2C-1944-4F26-87C2-2064975D45C7}" dt="2022-08-03T08:27:13.834" v="2586"/>
          <ac:spMkLst>
            <pc:docMk/>
            <pc:sldMk cId="2939149858" sldId="322"/>
            <ac:spMk id="80" creationId="{4C31EC67-4CBA-499C-BB64-CEAA72E44240}"/>
          </ac:spMkLst>
        </pc:spChg>
        <pc:spChg chg="mod">
          <ac:chgData name="Ewen Trafford" userId="e520b4bf-a196-48b7-bc10-b1590a457daa" providerId="ADAL" clId="{37DD1F2C-1944-4F26-87C2-2064975D45C7}" dt="2022-08-03T08:27:13.834" v="2586"/>
          <ac:spMkLst>
            <pc:docMk/>
            <pc:sldMk cId="2939149858" sldId="322"/>
            <ac:spMk id="81" creationId="{9C2504DF-C583-4445-A15F-46CB00E06176}"/>
          </ac:spMkLst>
        </pc:spChg>
        <pc:spChg chg="mod">
          <ac:chgData name="Ewen Trafford" userId="e520b4bf-a196-48b7-bc10-b1590a457daa" providerId="ADAL" clId="{37DD1F2C-1944-4F26-87C2-2064975D45C7}" dt="2022-08-03T08:27:13.834" v="2586"/>
          <ac:spMkLst>
            <pc:docMk/>
            <pc:sldMk cId="2939149858" sldId="322"/>
            <ac:spMk id="87" creationId="{A0231699-2C65-4984-856A-9276231399AC}"/>
          </ac:spMkLst>
        </pc:spChg>
        <pc:spChg chg="add mod">
          <ac:chgData name="Ewen Trafford" userId="e520b4bf-a196-48b7-bc10-b1590a457daa" providerId="ADAL" clId="{37DD1F2C-1944-4F26-87C2-2064975D45C7}" dt="2022-08-03T08:38:15.822" v="2757" actId="1076"/>
          <ac:spMkLst>
            <pc:docMk/>
            <pc:sldMk cId="2939149858" sldId="322"/>
            <ac:spMk id="88" creationId="{D7410CFE-6D4A-4526-B593-1F477DAD2AB1}"/>
          </ac:spMkLst>
        </pc:spChg>
        <pc:spChg chg="add mod">
          <ac:chgData name="Ewen Trafford" userId="e520b4bf-a196-48b7-bc10-b1590a457daa" providerId="ADAL" clId="{37DD1F2C-1944-4F26-87C2-2064975D45C7}" dt="2022-08-03T08:38:15.822" v="2757" actId="1076"/>
          <ac:spMkLst>
            <pc:docMk/>
            <pc:sldMk cId="2939149858" sldId="322"/>
            <ac:spMk id="90" creationId="{6B2B75EE-3CDC-44AE-B9B7-1A9B2512E0E0}"/>
          </ac:spMkLst>
        </pc:spChg>
        <pc:spChg chg="add mod">
          <ac:chgData name="Ewen Trafford" userId="e520b4bf-a196-48b7-bc10-b1590a457daa" providerId="ADAL" clId="{37DD1F2C-1944-4F26-87C2-2064975D45C7}" dt="2022-08-03T08:38:15.822" v="2757" actId="1076"/>
          <ac:spMkLst>
            <pc:docMk/>
            <pc:sldMk cId="2939149858" sldId="322"/>
            <ac:spMk id="96" creationId="{54433F2A-694D-4198-8789-8431E9D297FD}"/>
          </ac:spMkLst>
        </pc:spChg>
        <pc:spChg chg="add del mod">
          <ac:chgData name="Ewen Trafford" userId="e520b4bf-a196-48b7-bc10-b1590a457daa" providerId="ADAL" clId="{37DD1F2C-1944-4F26-87C2-2064975D45C7}" dt="2022-08-03T08:28:48.589" v="2607"/>
          <ac:spMkLst>
            <pc:docMk/>
            <pc:sldMk cId="2939149858" sldId="322"/>
            <ac:spMk id="98" creationId="{48DA87F9-9486-46F1-A462-0557F420044C}"/>
          </ac:spMkLst>
        </pc:spChg>
        <pc:spChg chg="add mod">
          <ac:chgData name="Ewen Trafford" userId="e520b4bf-a196-48b7-bc10-b1590a457daa" providerId="ADAL" clId="{37DD1F2C-1944-4F26-87C2-2064975D45C7}" dt="2022-08-03T08:38:15.822" v="2757" actId="1076"/>
          <ac:spMkLst>
            <pc:docMk/>
            <pc:sldMk cId="2939149858" sldId="322"/>
            <ac:spMk id="101" creationId="{6B55FCB3-52F2-4AD2-8B71-C6B166EF11C7}"/>
          </ac:spMkLst>
        </pc:spChg>
        <pc:spChg chg="add mod">
          <ac:chgData name="Ewen Trafford" userId="e520b4bf-a196-48b7-bc10-b1590a457daa" providerId="ADAL" clId="{37DD1F2C-1944-4F26-87C2-2064975D45C7}" dt="2022-08-03T08:38:15.822" v="2757" actId="1076"/>
          <ac:spMkLst>
            <pc:docMk/>
            <pc:sldMk cId="2939149858" sldId="322"/>
            <ac:spMk id="102" creationId="{C61BE2DF-EB39-4F1F-81D4-EDD0F2680389}"/>
          </ac:spMkLst>
        </pc:spChg>
        <pc:spChg chg="add del mod">
          <ac:chgData name="Ewen Trafford" userId="e520b4bf-a196-48b7-bc10-b1590a457daa" providerId="ADAL" clId="{37DD1F2C-1944-4F26-87C2-2064975D45C7}" dt="2022-08-03T08:30:44.440" v="2622" actId="478"/>
          <ac:spMkLst>
            <pc:docMk/>
            <pc:sldMk cId="2939149858" sldId="322"/>
            <ac:spMk id="103" creationId="{89B8FB4B-967A-4869-82B3-6F2CC86E126F}"/>
          </ac:spMkLst>
        </pc:spChg>
        <pc:spChg chg="add mod">
          <ac:chgData name="Ewen Trafford" userId="e520b4bf-a196-48b7-bc10-b1590a457daa" providerId="ADAL" clId="{37DD1F2C-1944-4F26-87C2-2064975D45C7}" dt="2022-08-03T09:38:46.034" v="5705" actId="1076"/>
          <ac:spMkLst>
            <pc:docMk/>
            <pc:sldMk cId="2939149858" sldId="322"/>
            <ac:spMk id="104" creationId="{D9C62645-0C5A-4202-AD0E-C638FCD0F10B}"/>
          </ac:spMkLst>
        </pc:spChg>
        <pc:spChg chg="add mod">
          <ac:chgData name="Ewen Trafford" userId="e520b4bf-a196-48b7-bc10-b1590a457daa" providerId="ADAL" clId="{37DD1F2C-1944-4F26-87C2-2064975D45C7}" dt="2022-08-03T09:38:50.365" v="5706" actId="14100"/>
          <ac:spMkLst>
            <pc:docMk/>
            <pc:sldMk cId="2939149858" sldId="322"/>
            <ac:spMk id="105" creationId="{9012A4A9-5D2A-4D4D-91EE-F0B1B67E57C5}"/>
          </ac:spMkLst>
        </pc:spChg>
        <pc:spChg chg="add mod">
          <ac:chgData name="Ewen Trafford" userId="e520b4bf-a196-48b7-bc10-b1590a457daa" providerId="ADAL" clId="{37DD1F2C-1944-4F26-87C2-2064975D45C7}" dt="2022-08-03T08:38:06.502" v="2756" actId="1076"/>
          <ac:spMkLst>
            <pc:docMk/>
            <pc:sldMk cId="2939149858" sldId="322"/>
            <ac:spMk id="106" creationId="{BD97CE34-7FC9-4B03-95CA-AFE006D6249D}"/>
          </ac:spMkLst>
        </pc:spChg>
        <pc:spChg chg="add mod">
          <ac:chgData name="Ewen Trafford" userId="e520b4bf-a196-48b7-bc10-b1590a457daa" providerId="ADAL" clId="{37DD1F2C-1944-4F26-87C2-2064975D45C7}" dt="2022-08-03T08:35:25.406" v="2707" actId="1076"/>
          <ac:spMkLst>
            <pc:docMk/>
            <pc:sldMk cId="2939149858" sldId="322"/>
            <ac:spMk id="107" creationId="{D2B6FFB5-822C-47AA-A7DF-5785C59EDC65}"/>
          </ac:spMkLst>
        </pc:spChg>
        <pc:spChg chg="add mod">
          <ac:chgData name="Ewen Trafford" userId="e520b4bf-a196-48b7-bc10-b1590a457daa" providerId="ADAL" clId="{37DD1F2C-1944-4F26-87C2-2064975D45C7}" dt="2022-08-03T08:35:25.406" v="2707" actId="1076"/>
          <ac:spMkLst>
            <pc:docMk/>
            <pc:sldMk cId="2939149858" sldId="322"/>
            <ac:spMk id="108" creationId="{41639989-7C9C-4536-A168-DFC751E35B11}"/>
          </ac:spMkLst>
        </pc:spChg>
        <pc:spChg chg="add mod">
          <ac:chgData name="Ewen Trafford" userId="e520b4bf-a196-48b7-bc10-b1590a457daa" providerId="ADAL" clId="{37DD1F2C-1944-4F26-87C2-2064975D45C7}" dt="2022-08-03T08:38:15.822" v="2757" actId="1076"/>
          <ac:spMkLst>
            <pc:docMk/>
            <pc:sldMk cId="2939149858" sldId="322"/>
            <ac:spMk id="109" creationId="{CC7706B3-299A-4F6F-985F-ECF2BF3FDECF}"/>
          </ac:spMkLst>
        </pc:spChg>
        <pc:spChg chg="add mod ord">
          <ac:chgData name="Ewen Trafford" userId="e520b4bf-a196-48b7-bc10-b1590a457daa" providerId="ADAL" clId="{37DD1F2C-1944-4F26-87C2-2064975D45C7}" dt="2022-08-03T08:37:48.556" v="2755" actId="14100"/>
          <ac:spMkLst>
            <pc:docMk/>
            <pc:sldMk cId="2939149858" sldId="322"/>
            <ac:spMk id="110" creationId="{14AEF3C6-3F6E-41DF-A28F-1F6BA824F455}"/>
          </ac:spMkLst>
        </pc:spChg>
        <pc:spChg chg="add mod">
          <ac:chgData name="Ewen Trafford" userId="e520b4bf-a196-48b7-bc10-b1590a457daa" providerId="ADAL" clId="{37DD1F2C-1944-4F26-87C2-2064975D45C7}" dt="2022-08-03T08:37:37.290" v="2753" actId="1076"/>
          <ac:spMkLst>
            <pc:docMk/>
            <pc:sldMk cId="2939149858" sldId="322"/>
            <ac:spMk id="111" creationId="{24F62B92-D048-4153-8F7B-4AB785C0BCB3}"/>
          </ac:spMkLst>
        </pc:spChg>
        <pc:spChg chg="add mod">
          <ac:chgData name="Ewen Trafford" userId="e520b4bf-a196-48b7-bc10-b1590a457daa" providerId="ADAL" clId="{37DD1F2C-1944-4F26-87C2-2064975D45C7}" dt="2022-08-03T08:38:33.382" v="2761" actId="1076"/>
          <ac:spMkLst>
            <pc:docMk/>
            <pc:sldMk cId="2939149858" sldId="322"/>
            <ac:spMk id="112" creationId="{B02657C6-AA5B-4A06-8186-F39327461A23}"/>
          </ac:spMkLst>
        </pc:spChg>
        <pc:grpChg chg="add del mod">
          <ac:chgData name="Ewen Trafford" userId="e520b4bf-a196-48b7-bc10-b1590a457daa" providerId="ADAL" clId="{37DD1F2C-1944-4F26-87C2-2064975D45C7}" dt="2022-08-03T08:21:42.856" v="2468" actId="478"/>
          <ac:grpSpMkLst>
            <pc:docMk/>
            <pc:sldMk cId="2939149858" sldId="322"/>
            <ac:grpSpMk id="4" creationId="{1F551C9D-15BC-4930-B885-600CC86C08C8}"/>
          </ac:grpSpMkLst>
        </pc:grpChg>
        <pc:grpChg chg="add del mod">
          <ac:chgData name="Ewen Trafford" userId="e520b4bf-a196-48b7-bc10-b1590a457daa" providerId="ADAL" clId="{37DD1F2C-1944-4F26-87C2-2064975D45C7}" dt="2022-08-03T08:12:56.984" v="2385" actId="164"/>
          <ac:grpSpMkLst>
            <pc:docMk/>
            <pc:sldMk cId="2939149858" sldId="322"/>
            <ac:grpSpMk id="5" creationId="{89A2DD52-5652-452E-82CC-36B81E4B44F3}"/>
          </ac:grpSpMkLst>
        </pc:grpChg>
        <pc:grpChg chg="del mod">
          <ac:chgData name="Ewen Trafford" userId="e520b4bf-a196-48b7-bc10-b1590a457daa" providerId="ADAL" clId="{37DD1F2C-1944-4F26-87C2-2064975D45C7}" dt="2022-08-03T08:12:10.329" v="2369" actId="478"/>
          <ac:grpSpMkLst>
            <pc:docMk/>
            <pc:sldMk cId="2939149858" sldId="322"/>
            <ac:grpSpMk id="11" creationId="{04E8071D-516F-4529-8689-C8FA333E245C}"/>
          </ac:grpSpMkLst>
        </pc:grpChg>
        <pc:grpChg chg="mod">
          <ac:chgData name="Ewen Trafford" userId="e520b4bf-a196-48b7-bc10-b1590a457daa" providerId="ADAL" clId="{37DD1F2C-1944-4F26-87C2-2064975D45C7}" dt="2022-08-03T08:12:00.410" v="2363"/>
          <ac:grpSpMkLst>
            <pc:docMk/>
            <pc:sldMk cId="2939149858" sldId="322"/>
            <ac:grpSpMk id="12" creationId="{BE6430A0-6E3A-49B0-B5C1-FBD2FBAB385F}"/>
          </ac:grpSpMkLst>
        </pc:grpChg>
        <pc:grpChg chg="add del mod">
          <ac:chgData name="Ewen Trafford" userId="e520b4bf-a196-48b7-bc10-b1590a457daa" providerId="ADAL" clId="{37DD1F2C-1944-4F26-87C2-2064975D45C7}" dt="2022-08-03T08:22:02.056" v="2471" actId="165"/>
          <ac:grpSpMkLst>
            <pc:docMk/>
            <pc:sldMk cId="2939149858" sldId="322"/>
            <ac:grpSpMk id="22" creationId="{F81A2679-F0D1-4237-8DC2-F300BE35DCF8}"/>
          </ac:grpSpMkLst>
        </pc:grpChg>
        <pc:grpChg chg="mod topLvl">
          <ac:chgData name="Ewen Trafford" userId="e520b4bf-a196-48b7-bc10-b1590a457daa" providerId="ADAL" clId="{37DD1F2C-1944-4F26-87C2-2064975D45C7}" dt="2022-08-03T08:23:12.800" v="2486" actId="164"/>
          <ac:grpSpMkLst>
            <pc:docMk/>
            <pc:sldMk cId="2939149858" sldId="322"/>
            <ac:grpSpMk id="23" creationId="{E4A6A052-2BD2-459F-ADA4-F8ABE7E16186}"/>
          </ac:grpSpMkLst>
        </pc:grpChg>
        <pc:grpChg chg="mod">
          <ac:chgData name="Ewen Trafford" userId="e520b4bf-a196-48b7-bc10-b1590a457daa" providerId="ADAL" clId="{37DD1F2C-1944-4F26-87C2-2064975D45C7}" dt="2022-08-03T08:22:02.056" v="2471" actId="165"/>
          <ac:grpSpMkLst>
            <pc:docMk/>
            <pc:sldMk cId="2939149858" sldId="322"/>
            <ac:grpSpMk id="27" creationId="{A7B1E300-E096-4DA8-9AC5-94E9D92814B3}"/>
          </ac:grpSpMkLst>
        </pc:grpChg>
        <pc:grpChg chg="add mod">
          <ac:chgData name="Ewen Trafford" userId="e520b4bf-a196-48b7-bc10-b1590a457daa" providerId="ADAL" clId="{37DD1F2C-1944-4F26-87C2-2064975D45C7}" dt="2022-08-03T08:35:25.406" v="2707" actId="1076"/>
          <ac:grpSpMkLst>
            <pc:docMk/>
            <pc:sldMk cId="2939149858" sldId="322"/>
            <ac:grpSpMk id="47" creationId="{82EE047B-EC22-4303-AF4E-6DFA607EBDE3}"/>
          </ac:grpSpMkLst>
        </pc:grpChg>
        <pc:grpChg chg="add mod">
          <ac:chgData name="Ewen Trafford" userId="e520b4bf-a196-48b7-bc10-b1590a457daa" providerId="ADAL" clId="{37DD1F2C-1944-4F26-87C2-2064975D45C7}" dt="2022-08-03T08:35:25.406" v="2707" actId="1076"/>
          <ac:grpSpMkLst>
            <pc:docMk/>
            <pc:sldMk cId="2939149858" sldId="322"/>
            <ac:grpSpMk id="48" creationId="{2F7F192E-FA80-4C3C-ABED-0A10988E2D19}"/>
          </ac:grpSpMkLst>
        </pc:grpChg>
        <pc:grpChg chg="mod">
          <ac:chgData name="Ewen Trafford" userId="e520b4bf-a196-48b7-bc10-b1590a457daa" providerId="ADAL" clId="{37DD1F2C-1944-4F26-87C2-2064975D45C7}" dt="2022-08-03T08:24:38.345" v="2548"/>
          <ac:grpSpMkLst>
            <pc:docMk/>
            <pc:sldMk cId="2939149858" sldId="322"/>
            <ac:grpSpMk id="49" creationId="{AE623CCC-3C3F-4C8D-9CC0-CAC445D50F4A}"/>
          </ac:grpSpMkLst>
        </pc:grpChg>
        <pc:grpChg chg="mod">
          <ac:chgData name="Ewen Trafford" userId="e520b4bf-a196-48b7-bc10-b1590a457daa" providerId="ADAL" clId="{37DD1F2C-1944-4F26-87C2-2064975D45C7}" dt="2022-08-03T08:24:38.345" v="2548"/>
          <ac:grpSpMkLst>
            <pc:docMk/>
            <pc:sldMk cId="2939149858" sldId="322"/>
            <ac:grpSpMk id="57" creationId="{6BAA8B73-B43D-41C8-B8C2-211E13B100BD}"/>
          </ac:grpSpMkLst>
        </pc:grpChg>
        <pc:grpChg chg="add mod">
          <ac:chgData name="Ewen Trafford" userId="e520b4bf-a196-48b7-bc10-b1590a457daa" providerId="ADAL" clId="{37DD1F2C-1944-4F26-87C2-2064975D45C7}" dt="2022-08-03T08:38:15.822" v="2757" actId="1076"/>
          <ac:grpSpMkLst>
            <pc:docMk/>
            <pc:sldMk cId="2939149858" sldId="322"/>
            <ac:grpSpMk id="73" creationId="{6D460FDE-2493-4CD2-AF0D-CD2C07FAB1D7}"/>
          </ac:grpSpMkLst>
        </pc:grpChg>
        <pc:grpChg chg="mod">
          <ac:chgData name="Ewen Trafford" userId="e520b4bf-a196-48b7-bc10-b1590a457daa" providerId="ADAL" clId="{37DD1F2C-1944-4F26-87C2-2064975D45C7}" dt="2022-08-03T08:27:13.834" v="2586"/>
          <ac:grpSpMkLst>
            <pc:docMk/>
            <pc:sldMk cId="2939149858" sldId="322"/>
            <ac:grpSpMk id="74" creationId="{EAA6D00F-2F67-4AE0-8BF2-49F0085F4386}"/>
          </ac:grpSpMkLst>
        </pc:grpChg>
        <pc:grpChg chg="mod">
          <ac:chgData name="Ewen Trafford" userId="e520b4bf-a196-48b7-bc10-b1590a457daa" providerId="ADAL" clId="{37DD1F2C-1944-4F26-87C2-2064975D45C7}" dt="2022-08-03T08:27:13.834" v="2586"/>
          <ac:grpSpMkLst>
            <pc:docMk/>
            <pc:sldMk cId="2939149858" sldId="322"/>
            <ac:grpSpMk id="82" creationId="{87485849-BA8C-4CA9-9DBA-845357403730}"/>
          </ac:grpSpMkLst>
        </pc:grpChg>
        <pc:picChg chg="add del mod">
          <ac:chgData name="Ewen Trafford" userId="e520b4bf-a196-48b7-bc10-b1590a457daa" providerId="ADAL" clId="{37DD1F2C-1944-4F26-87C2-2064975D45C7}" dt="2022-08-03T09:39:38.032" v="5715" actId="478"/>
          <ac:picMkLst>
            <pc:docMk/>
            <pc:sldMk cId="2939149858" sldId="322"/>
            <ac:picMk id="114" creationId="{2FDAE921-2732-4522-A1F4-C81C9D426C38}"/>
          </ac:picMkLst>
        </pc:picChg>
        <pc:picChg chg="del">
          <ac:chgData name="Ewen Trafford" userId="e520b4bf-a196-48b7-bc10-b1590a457daa" providerId="ADAL" clId="{37DD1F2C-1944-4F26-87C2-2064975D45C7}" dt="2022-07-26T14:31:05.390" v="11" actId="478"/>
          <ac:picMkLst>
            <pc:docMk/>
            <pc:sldMk cId="2939149858" sldId="322"/>
            <ac:picMk id="9218" creationId="{D3E4E176-8338-46ED-93E7-BF00525E8562}"/>
          </ac:picMkLst>
        </pc:picChg>
        <pc:cxnChg chg="del mod">
          <ac:chgData name="Ewen Trafford" userId="e520b4bf-a196-48b7-bc10-b1590a457daa" providerId="ADAL" clId="{37DD1F2C-1944-4F26-87C2-2064975D45C7}" dt="2022-08-03T08:12:11.615" v="2370" actId="478"/>
          <ac:cxnSpMkLst>
            <pc:docMk/>
            <pc:sldMk cId="2939149858" sldId="322"/>
            <ac:cxnSpMk id="8" creationId="{3DA22C79-85CA-49C6-89CA-881B001A38A3}"/>
          </ac:cxnSpMkLst>
        </pc:cxnChg>
        <pc:cxnChg chg="del mod">
          <ac:chgData name="Ewen Trafford" userId="e520b4bf-a196-48b7-bc10-b1590a457daa" providerId="ADAL" clId="{37DD1F2C-1944-4F26-87C2-2064975D45C7}" dt="2022-08-03T08:12:13.586" v="2371" actId="478"/>
          <ac:cxnSpMkLst>
            <pc:docMk/>
            <pc:sldMk cId="2939149858" sldId="322"/>
            <ac:cxnSpMk id="9" creationId="{2A020281-C325-4CD8-8CAB-B5B91A171A5D}"/>
          </ac:cxnSpMkLst>
        </pc:cxnChg>
        <pc:cxnChg chg="del mod">
          <ac:chgData name="Ewen Trafford" userId="e520b4bf-a196-48b7-bc10-b1590a457daa" providerId="ADAL" clId="{37DD1F2C-1944-4F26-87C2-2064975D45C7}" dt="2022-08-03T08:12:08.484" v="2368" actId="478"/>
          <ac:cxnSpMkLst>
            <pc:docMk/>
            <pc:sldMk cId="2939149858" sldId="322"/>
            <ac:cxnSpMk id="10" creationId="{FFC6936B-3DE9-4C12-99D0-3E369EFB0B02}"/>
          </ac:cxnSpMkLst>
        </pc:cxnChg>
        <pc:cxnChg chg="mod">
          <ac:chgData name="Ewen Trafford" userId="e520b4bf-a196-48b7-bc10-b1590a457daa" providerId="ADAL" clId="{37DD1F2C-1944-4F26-87C2-2064975D45C7}" dt="2022-08-03T08:12:00.410" v="2363"/>
          <ac:cxnSpMkLst>
            <pc:docMk/>
            <pc:sldMk cId="2939149858" sldId="322"/>
            <ac:cxnSpMk id="13" creationId="{84AA25FF-2509-4367-B5F7-EE36A9F5458D}"/>
          </ac:cxnSpMkLst>
        </pc:cxnChg>
        <pc:cxnChg chg="mod">
          <ac:chgData name="Ewen Trafford" userId="e520b4bf-a196-48b7-bc10-b1590a457daa" providerId="ADAL" clId="{37DD1F2C-1944-4F26-87C2-2064975D45C7}" dt="2022-08-03T08:12:00.410" v="2363"/>
          <ac:cxnSpMkLst>
            <pc:docMk/>
            <pc:sldMk cId="2939149858" sldId="322"/>
            <ac:cxnSpMk id="14" creationId="{8CFF80A2-B087-4711-9176-A0B78D5AE9E7}"/>
          </ac:cxnSpMkLst>
        </pc:cxnChg>
        <pc:cxnChg chg="mod">
          <ac:chgData name="Ewen Trafford" userId="e520b4bf-a196-48b7-bc10-b1590a457daa" providerId="ADAL" clId="{37DD1F2C-1944-4F26-87C2-2064975D45C7}" dt="2022-08-03T08:12:00.410" v="2363"/>
          <ac:cxnSpMkLst>
            <pc:docMk/>
            <pc:sldMk cId="2939149858" sldId="322"/>
            <ac:cxnSpMk id="15" creationId="{F6E76C5A-3481-4ED0-BC4F-A878808FC33C}"/>
          </ac:cxnSpMkLst>
        </pc:cxnChg>
        <pc:cxnChg chg="mod">
          <ac:chgData name="Ewen Trafford" userId="e520b4bf-a196-48b7-bc10-b1590a457daa" providerId="ADAL" clId="{37DD1F2C-1944-4F26-87C2-2064975D45C7}" dt="2022-08-03T08:12:00.410" v="2363"/>
          <ac:cxnSpMkLst>
            <pc:docMk/>
            <pc:sldMk cId="2939149858" sldId="322"/>
            <ac:cxnSpMk id="16" creationId="{301A7C47-CC87-4835-BC3C-C086F8AD5CB1}"/>
          </ac:cxnSpMkLst>
        </pc:cxnChg>
        <pc:cxnChg chg="mod">
          <ac:chgData name="Ewen Trafford" userId="e520b4bf-a196-48b7-bc10-b1590a457daa" providerId="ADAL" clId="{37DD1F2C-1944-4F26-87C2-2064975D45C7}" dt="2022-08-03T08:22:02.056" v="2471" actId="165"/>
          <ac:cxnSpMkLst>
            <pc:docMk/>
            <pc:sldMk cId="2939149858" sldId="322"/>
            <ac:cxnSpMk id="28" creationId="{C6044B8E-A0B4-47DC-8F9E-C21FF8D634FE}"/>
          </ac:cxnSpMkLst>
        </pc:cxnChg>
        <pc:cxnChg chg="mod">
          <ac:chgData name="Ewen Trafford" userId="e520b4bf-a196-48b7-bc10-b1590a457daa" providerId="ADAL" clId="{37DD1F2C-1944-4F26-87C2-2064975D45C7}" dt="2022-08-03T08:22:02.056" v="2471" actId="165"/>
          <ac:cxnSpMkLst>
            <pc:docMk/>
            <pc:sldMk cId="2939149858" sldId="322"/>
            <ac:cxnSpMk id="29" creationId="{A489F51D-FA7F-43C8-B474-AF36EA875A9B}"/>
          </ac:cxnSpMkLst>
        </pc:cxnChg>
        <pc:cxnChg chg="mod">
          <ac:chgData name="Ewen Trafford" userId="e520b4bf-a196-48b7-bc10-b1590a457daa" providerId="ADAL" clId="{37DD1F2C-1944-4F26-87C2-2064975D45C7}" dt="2022-08-03T08:22:02.056" v="2471" actId="165"/>
          <ac:cxnSpMkLst>
            <pc:docMk/>
            <pc:sldMk cId="2939149858" sldId="322"/>
            <ac:cxnSpMk id="30" creationId="{21DFE68B-3991-4DF7-9099-B8C1D41D78E4}"/>
          </ac:cxnSpMkLst>
        </pc:cxnChg>
        <pc:cxnChg chg="mod">
          <ac:chgData name="Ewen Trafford" userId="e520b4bf-a196-48b7-bc10-b1590a457daa" providerId="ADAL" clId="{37DD1F2C-1944-4F26-87C2-2064975D45C7}" dt="2022-08-03T08:22:02.056" v="2471" actId="165"/>
          <ac:cxnSpMkLst>
            <pc:docMk/>
            <pc:sldMk cId="2939149858" sldId="322"/>
            <ac:cxnSpMk id="31" creationId="{50DFF299-19D1-4972-B808-5A7C80D990C5}"/>
          </ac:cxnSpMkLst>
        </pc:cxnChg>
        <pc:cxnChg chg="add del mod">
          <ac:chgData name="Ewen Trafford" userId="e520b4bf-a196-48b7-bc10-b1590a457daa" providerId="ADAL" clId="{37DD1F2C-1944-4F26-87C2-2064975D45C7}" dt="2022-08-03T08:21:04.973" v="2465" actId="478"/>
          <ac:cxnSpMkLst>
            <pc:docMk/>
            <pc:sldMk cId="2939149858" sldId="322"/>
            <ac:cxnSpMk id="37" creationId="{C0D57DA5-DFC9-4CF0-A806-6D87BEDF44F9}"/>
          </ac:cxnSpMkLst>
        </pc:cxnChg>
        <pc:cxnChg chg="add del mod">
          <ac:chgData name="Ewen Trafford" userId="e520b4bf-a196-48b7-bc10-b1590a457daa" providerId="ADAL" clId="{37DD1F2C-1944-4F26-87C2-2064975D45C7}" dt="2022-08-03T08:21:04.426" v="2464" actId="478"/>
          <ac:cxnSpMkLst>
            <pc:docMk/>
            <pc:sldMk cId="2939149858" sldId="322"/>
            <ac:cxnSpMk id="38" creationId="{24077280-A2B6-4D49-8336-A756CB6B46BB}"/>
          </ac:cxnSpMkLst>
        </pc:cxnChg>
        <pc:cxnChg chg="add del mod">
          <ac:chgData name="Ewen Trafford" userId="e520b4bf-a196-48b7-bc10-b1590a457daa" providerId="ADAL" clId="{37DD1F2C-1944-4F26-87C2-2064975D45C7}" dt="2022-08-03T08:21:05.685" v="2466" actId="478"/>
          <ac:cxnSpMkLst>
            <pc:docMk/>
            <pc:sldMk cId="2939149858" sldId="322"/>
            <ac:cxnSpMk id="39" creationId="{855FE0AA-DBB1-4C4E-AAAF-EB78931D3C85}"/>
          </ac:cxnSpMkLst>
        </pc:cxnChg>
        <pc:cxnChg chg="add del mod">
          <ac:chgData name="Ewen Trafford" userId="e520b4bf-a196-48b7-bc10-b1590a457daa" providerId="ADAL" clId="{37DD1F2C-1944-4F26-87C2-2064975D45C7}" dt="2022-08-03T08:21:03.535" v="2463" actId="478"/>
          <ac:cxnSpMkLst>
            <pc:docMk/>
            <pc:sldMk cId="2939149858" sldId="322"/>
            <ac:cxnSpMk id="40" creationId="{E9BB6BC8-4AD6-451D-B5DF-51FCA9A73BD6}"/>
          </ac:cxnSpMkLst>
        </pc:cxnChg>
        <pc:cxnChg chg="add del mod">
          <ac:chgData name="Ewen Trafford" userId="e520b4bf-a196-48b7-bc10-b1590a457daa" providerId="ADAL" clId="{37DD1F2C-1944-4F26-87C2-2064975D45C7}" dt="2022-08-03T08:22:19.609" v="2477" actId="478"/>
          <ac:cxnSpMkLst>
            <pc:docMk/>
            <pc:sldMk cId="2939149858" sldId="322"/>
            <ac:cxnSpMk id="41" creationId="{E86F8145-319E-4CBA-86A2-41DD89E51DB8}"/>
          </ac:cxnSpMkLst>
        </pc:cxnChg>
        <pc:cxnChg chg="add mod">
          <ac:chgData name="Ewen Trafford" userId="e520b4bf-a196-48b7-bc10-b1590a457daa" providerId="ADAL" clId="{37DD1F2C-1944-4F26-87C2-2064975D45C7}" dt="2022-08-03T08:23:12.800" v="2486" actId="164"/>
          <ac:cxnSpMkLst>
            <pc:docMk/>
            <pc:sldMk cId="2939149858" sldId="322"/>
            <ac:cxnSpMk id="42" creationId="{C144FD41-1463-47E3-A16A-E393FE264618}"/>
          </ac:cxnSpMkLst>
        </pc:cxnChg>
        <pc:cxnChg chg="mod">
          <ac:chgData name="Ewen Trafford" userId="e520b4bf-a196-48b7-bc10-b1590a457daa" providerId="ADAL" clId="{37DD1F2C-1944-4F26-87C2-2064975D45C7}" dt="2022-08-03T08:24:38.345" v="2548"/>
          <ac:cxnSpMkLst>
            <pc:docMk/>
            <pc:sldMk cId="2939149858" sldId="322"/>
            <ac:cxnSpMk id="51" creationId="{211FBF10-7FD6-4E64-A021-BE2840DEB5F1}"/>
          </ac:cxnSpMkLst>
        </pc:cxnChg>
        <pc:cxnChg chg="mod">
          <ac:chgData name="Ewen Trafford" userId="e520b4bf-a196-48b7-bc10-b1590a457daa" providerId="ADAL" clId="{37DD1F2C-1944-4F26-87C2-2064975D45C7}" dt="2022-08-03T08:24:38.345" v="2548"/>
          <ac:cxnSpMkLst>
            <pc:docMk/>
            <pc:sldMk cId="2939149858" sldId="322"/>
            <ac:cxnSpMk id="58" creationId="{B8F244A8-A742-42EF-9800-B582F0D7F644}"/>
          </ac:cxnSpMkLst>
        </pc:cxnChg>
        <pc:cxnChg chg="mod">
          <ac:chgData name="Ewen Trafford" userId="e520b4bf-a196-48b7-bc10-b1590a457daa" providerId="ADAL" clId="{37DD1F2C-1944-4F26-87C2-2064975D45C7}" dt="2022-08-03T08:24:38.345" v="2548"/>
          <ac:cxnSpMkLst>
            <pc:docMk/>
            <pc:sldMk cId="2939149858" sldId="322"/>
            <ac:cxnSpMk id="59" creationId="{12E00662-C53D-40E7-84CC-D2CD13A16548}"/>
          </ac:cxnSpMkLst>
        </pc:cxnChg>
        <pc:cxnChg chg="mod">
          <ac:chgData name="Ewen Trafford" userId="e520b4bf-a196-48b7-bc10-b1590a457daa" providerId="ADAL" clId="{37DD1F2C-1944-4F26-87C2-2064975D45C7}" dt="2022-08-03T08:24:38.345" v="2548"/>
          <ac:cxnSpMkLst>
            <pc:docMk/>
            <pc:sldMk cId="2939149858" sldId="322"/>
            <ac:cxnSpMk id="60" creationId="{336856C2-4217-4990-8057-3928937E8064}"/>
          </ac:cxnSpMkLst>
        </pc:cxnChg>
        <pc:cxnChg chg="mod">
          <ac:chgData name="Ewen Trafford" userId="e520b4bf-a196-48b7-bc10-b1590a457daa" providerId="ADAL" clId="{37DD1F2C-1944-4F26-87C2-2064975D45C7}" dt="2022-08-03T08:24:38.345" v="2548"/>
          <ac:cxnSpMkLst>
            <pc:docMk/>
            <pc:sldMk cId="2939149858" sldId="322"/>
            <ac:cxnSpMk id="61" creationId="{4BFB13AA-EAC1-40DB-8078-B48C9B58C7D6}"/>
          </ac:cxnSpMkLst>
        </pc:cxnChg>
        <pc:cxnChg chg="add mod">
          <ac:chgData name="Ewen Trafford" userId="e520b4bf-a196-48b7-bc10-b1590a457daa" providerId="ADAL" clId="{37DD1F2C-1944-4F26-87C2-2064975D45C7}" dt="2022-08-03T08:35:25.406" v="2707" actId="1076"/>
          <ac:cxnSpMkLst>
            <pc:docMk/>
            <pc:sldMk cId="2939149858" sldId="322"/>
            <ac:cxnSpMk id="64" creationId="{6383DCB1-8D6D-4786-96F7-B439942B6029}"/>
          </ac:cxnSpMkLst>
        </pc:cxnChg>
        <pc:cxnChg chg="mod">
          <ac:chgData name="Ewen Trafford" userId="e520b4bf-a196-48b7-bc10-b1590a457daa" providerId="ADAL" clId="{37DD1F2C-1944-4F26-87C2-2064975D45C7}" dt="2022-08-03T08:27:13.834" v="2586"/>
          <ac:cxnSpMkLst>
            <pc:docMk/>
            <pc:sldMk cId="2939149858" sldId="322"/>
            <ac:cxnSpMk id="76" creationId="{4C224145-EED2-4320-B674-8746BD81DBD1}"/>
          </ac:cxnSpMkLst>
        </pc:cxnChg>
        <pc:cxnChg chg="mod">
          <ac:chgData name="Ewen Trafford" userId="e520b4bf-a196-48b7-bc10-b1590a457daa" providerId="ADAL" clId="{37DD1F2C-1944-4F26-87C2-2064975D45C7}" dt="2022-08-03T08:27:13.834" v="2586"/>
          <ac:cxnSpMkLst>
            <pc:docMk/>
            <pc:sldMk cId="2939149858" sldId="322"/>
            <ac:cxnSpMk id="83" creationId="{6B749E00-76C5-4E7B-9119-7B065510211E}"/>
          </ac:cxnSpMkLst>
        </pc:cxnChg>
        <pc:cxnChg chg="mod">
          <ac:chgData name="Ewen Trafford" userId="e520b4bf-a196-48b7-bc10-b1590a457daa" providerId="ADAL" clId="{37DD1F2C-1944-4F26-87C2-2064975D45C7}" dt="2022-08-03T08:27:13.834" v="2586"/>
          <ac:cxnSpMkLst>
            <pc:docMk/>
            <pc:sldMk cId="2939149858" sldId="322"/>
            <ac:cxnSpMk id="84" creationId="{FE5F7110-A374-4935-A803-459226AEED6B}"/>
          </ac:cxnSpMkLst>
        </pc:cxnChg>
        <pc:cxnChg chg="mod">
          <ac:chgData name="Ewen Trafford" userId="e520b4bf-a196-48b7-bc10-b1590a457daa" providerId="ADAL" clId="{37DD1F2C-1944-4F26-87C2-2064975D45C7}" dt="2022-08-03T08:27:13.834" v="2586"/>
          <ac:cxnSpMkLst>
            <pc:docMk/>
            <pc:sldMk cId="2939149858" sldId="322"/>
            <ac:cxnSpMk id="85" creationId="{764D08DE-EA66-426F-8C9E-0D0F77CF2908}"/>
          </ac:cxnSpMkLst>
        </pc:cxnChg>
        <pc:cxnChg chg="mod">
          <ac:chgData name="Ewen Trafford" userId="e520b4bf-a196-48b7-bc10-b1590a457daa" providerId="ADAL" clId="{37DD1F2C-1944-4F26-87C2-2064975D45C7}" dt="2022-08-03T08:27:13.834" v="2586"/>
          <ac:cxnSpMkLst>
            <pc:docMk/>
            <pc:sldMk cId="2939149858" sldId="322"/>
            <ac:cxnSpMk id="86" creationId="{10EBECFA-D379-48AE-9F1A-1BD94CE89254}"/>
          </ac:cxnSpMkLst>
        </pc:cxnChg>
        <pc:cxnChg chg="add mod">
          <ac:chgData name="Ewen Trafford" userId="e520b4bf-a196-48b7-bc10-b1590a457daa" providerId="ADAL" clId="{37DD1F2C-1944-4F26-87C2-2064975D45C7}" dt="2022-08-03T08:38:15.822" v="2757" actId="1076"/>
          <ac:cxnSpMkLst>
            <pc:docMk/>
            <pc:sldMk cId="2939149858" sldId="322"/>
            <ac:cxnSpMk id="89" creationId="{5CF4E1AA-9EAD-4B53-8D37-48C11E9B7B1C}"/>
          </ac:cxnSpMkLst>
        </pc:cxnChg>
        <pc:cxnChg chg="add mod">
          <ac:chgData name="Ewen Trafford" userId="e520b4bf-a196-48b7-bc10-b1590a457daa" providerId="ADAL" clId="{37DD1F2C-1944-4F26-87C2-2064975D45C7}" dt="2022-08-03T08:38:15.822" v="2757" actId="1076"/>
          <ac:cxnSpMkLst>
            <pc:docMk/>
            <pc:sldMk cId="2939149858" sldId="322"/>
            <ac:cxnSpMk id="91" creationId="{6F499A5B-8067-4BC3-88B7-AD804D33E813}"/>
          </ac:cxnSpMkLst>
        </pc:cxnChg>
        <pc:cxnChg chg="add del mod">
          <ac:chgData name="Ewen Trafford" userId="e520b4bf-a196-48b7-bc10-b1590a457daa" providerId="ADAL" clId="{37DD1F2C-1944-4F26-87C2-2064975D45C7}" dt="2022-08-03T08:28:01.339" v="2599" actId="478"/>
          <ac:cxnSpMkLst>
            <pc:docMk/>
            <pc:sldMk cId="2939149858" sldId="322"/>
            <ac:cxnSpMk id="92" creationId="{64B08B7A-105D-4A45-8A4C-E7C69E03CA8A}"/>
          </ac:cxnSpMkLst>
        </pc:cxnChg>
        <pc:cxnChg chg="add mod">
          <ac:chgData name="Ewen Trafford" userId="e520b4bf-a196-48b7-bc10-b1590a457daa" providerId="ADAL" clId="{37DD1F2C-1944-4F26-87C2-2064975D45C7}" dt="2022-08-03T08:38:15.822" v="2757" actId="1076"/>
          <ac:cxnSpMkLst>
            <pc:docMk/>
            <pc:sldMk cId="2939149858" sldId="322"/>
            <ac:cxnSpMk id="95" creationId="{F917D6B2-2493-4BB4-B2B6-C1F479362986}"/>
          </ac:cxnSpMkLst>
        </pc:cxnChg>
        <pc:cxnChg chg="add del mod">
          <ac:chgData name="Ewen Trafford" userId="e520b4bf-a196-48b7-bc10-b1590a457daa" providerId="ADAL" clId="{37DD1F2C-1944-4F26-87C2-2064975D45C7}" dt="2022-08-03T08:28:48.589" v="2607"/>
          <ac:cxnSpMkLst>
            <pc:docMk/>
            <pc:sldMk cId="2939149858" sldId="322"/>
            <ac:cxnSpMk id="97" creationId="{41425D5C-8128-47BA-9677-E7BACB9D4125}"/>
          </ac:cxnSpMkLst>
        </pc:cxnChg>
        <pc:cxnChg chg="add mod">
          <ac:chgData name="Ewen Trafford" userId="e520b4bf-a196-48b7-bc10-b1590a457daa" providerId="ADAL" clId="{37DD1F2C-1944-4F26-87C2-2064975D45C7}" dt="2022-08-03T08:38:15.822" v="2757" actId="1076"/>
          <ac:cxnSpMkLst>
            <pc:docMk/>
            <pc:sldMk cId="2939149858" sldId="322"/>
            <ac:cxnSpMk id="99" creationId="{98267B8D-A986-481C-8FA0-7F51EA21F0A2}"/>
          </ac:cxnSpMkLst>
        </pc:cxnChg>
        <pc:cxnChg chg="add mod">
          <ac:chgData name="Ewen Trafford" userId="e520b4bf-a196-48b7-bc10-b1590a457daa" providerId="ADAL" clId="{37DD1F2C-1944-4F26-87C2-2064975D45C7}" dt="2022-08-03T08:38:15.822" v="2757" actId="1076"/>
          <ac:cxnSpMkLst>
            <pc:docMk/>
            <pc:sldMk cId="2939149858" sldId="322"/>
            <ac:cxnSpMk id="100" creationId="{33F2847F-FB4B-4C23-ABF3-134B1B6C31CD}"/>
          </ac:cxnSpMkLst>
        </pc:cxnChg>
      </pc:sldChg>
      <pc:sldChg chg="modSp del">
        <pc:chgData name="Ewen Trafford" userId="e520b4bf-a196-48b7-bc10-b1590a457daa" providerId="ADAL" clId="{37DD1F2C-1944-4F26-87C2-2064975D45C7}" dt="2022-07-26T14:31:08.488" v="12" actId="47"/>
        <pc:sldMkLst>
          <pc:docMk/>
          <pc:sldMk cId="1855309931" sldId="323"/>
        </pc:sldMkLst>
        <pc:spChg chg="mod">
          <ac:chgData name="Ewen Trafford" userId="e520b4bf-a196-48b7-bc10-b1590a457daa" providerId="ADAL" clId="{37DD1F2C-1944-4F26-87C2-2064975D45C7}" dt="2022-07-26T14:30:11.362" v="0"/>
          <ac:spMkLst>
            <pc:docMk/>
            <pc:sldMk cId="1855309931" sldId="323"/>
            <ac:spMk id="2" creationId="{CF40B81A-2823-8056-34AE-B3308191DF5B}"/>
          </ac:spMkLst>
        </pc:spChg>
        <pc:spChg chg="mod">
          <ac:chgData name="Ewen Trafford" userId="e520b4bf-a196-48b7-bc10-b1590a457daa" providerId="ADAL" clId="{37DD1F2C-1944-4F26-87C2-2064975D45C7}" dt="2022-07-26T14:30:11.362" v="0"/>
          <ac:spMkLst>
            <pc:docMk/>
            <pc:sldMk cId="1855309931" sldId="323"/>
            <ac:spMk id="3" creationId="{53B4885A-37FC-0B67-2285-D9A9B9DC8C09}"/>
          </ac:spMkLst>
        </pc:spChg>
      </pc:sldChg>
      <pc:sldChg chg="modSp del">
        <pc:chgData name="Ewen Trafford" userId="e520b4bf-a196-48b7-bc10-b1590a457daa" providerId="ADAL" clId="{37DD1F2C-1944-4F26-87C2-2064975D45C7}" dt="2022-07-26T14:31:10.235" v="13" actId="47"/>
        <pc:sldMkLst>
          <pc:docMk/>
          <pc:sldMk cId="1577086551" sldId="325"/>
        </pc:sldMkLst>
        <pc:spChg chg="mod">
          <ac:chgData name="Ewen Trafford" userId="e520b4bf-a196-48b7-bc10-b1590a457daa" providerId="ADAL" clId="{37DD1F2C-1944-4F26-87C2-2064975D45C7}" dt="2022-07-26T14:30:32.249" v="1"/>
          <ac:spMkLst>
            <pc:docMk/>
            <pc:sldMk cId="1577086551" sldId="325"/>
            <ac:spMk id="3" creationId="{25ECF5C8-B231-B34A-F7D8-C96CD9FECAD2}"/>
          </ac:spMkLst>
        </pc:spChg>
      </pc:sldChg>
      <pc:sldChg chg="del">
        <pc:chgData name="Ewen Trafford" userId="e520b4bf-a196-48b7-bc10-b1590a457daa" providerId="ADAL" clId="{37DD1F2C-1944-4F26-87C2-2064975D45C7}" dt="2022-07-26T14:31:14.394" v="16" actId="47"/>
        <pc:sldMkLst>
          <pc:docMk/>
          <pc:sldMk cId="2100916119" sldId="326"/>
        </pc:sldMkLst>
      </pc:sldChg>
      <pc:sldChg chg="modSp mod">
        <pc:chgData name="Ewen Trafford" userId="e520b4bf-a196-48b7-bc10-b1590a457daa" providerId="ADAL" clId="{37DD1F2C-1944-4F26-87C2-2064975D45C7}" dt="2022-07-26T14:31:26.728" v="18" actId="6549"/>
        <pc:sldMkLst>
          <pc:docMk/>
          <pc:sldMk cId="3594171061" sldId="331"/>
        </pc:sldMkLst>
        <pc:graphicFrameChg chg="modGraphic">
          <ac:chgData name="Ewen Trafford" userId="e520b4bf-a196-48b7-bc10-b1590a457daa" providerId="ADAL" clId="{37DD1F2C-1944-4F26-87C2-2064975D45C7}" dt="2022-07-26T14:31:26.728" v="18" actId="6549"/>
          <ac:graphicFrameMkLst>
            <pc:docMk/>
            <pc:sldMk cId="3594171061" sldId="331"/>
            <ac:graphicFrameMk id="4" creationId="{852C40F4-3A0C-2C57-5C1A-53EF072895F3}"/>
          </ac:graphicFrameMkLst>
        </pc:graphicFrameChg>
      </pc:sldChg>
      <pc:sldChg chg="del">
        <pc:chgData name="Ewen Trafford" userId="e520b4bf-a196-48b7-bc10-b1590a457daa" providerId="ADAL" clId="{37DD1F2C-1944-4F26-87C2-2064975D45C7}" dt="2022-07-26T14:31:15.240" v="17" actId="47"/>
        <pc:sldMkLst>
          <pc:docMk/>
          <pc:sldMk cId="2621305010" sldId="333"/>
        </pc:sldMkLst>
      </pc:sldChg>
      <pc:sldChg chg="modSp del">
        <pc:chgData name="Ewen Trafford" userId="e520b4bf-a196-48b7-bc10-b1590a457daa" providerId="ADAL" clId="{37DD1F2C-1944-4F26-87C2-2064975D45C7}" dt="2022-07-26T14:31:13.626" v="15" actId="47"/>
        <pc:sldMkLst>
          <pc:docMk/>
          <pc:sldMk cId="568958115" sldId="335"/>
        </pc:sldMkLst>
        <pc:spChg chg="mod">
          <ac:chgData name="Ewen Trafford" userId="e520b4bf-a196-48b7-bc10-b1590a457daa" providerId="ADAL" clId="{37DD1F2C-1944-4F26-87C2-2064975D45C7}" dt="2022-07-26T14:30:11.362" v="0"/>
          <ac:spMkLst>
            <pc:docMk/>
            <pc:sldMk cId="568958115" sldId="335"/>
            <ac:spMk id="3" creationId="{7A1ACDE8-06F6-9A1F-FEA6-E8329882C225}"/>
          </ac:spMkLst>
        </pc:spChg>
      </pc:sldChg>
      <pc:sldChg chg="modSp">
        <pc:chgData name="Ewen Trafford" userId="e520b4bf-a196-48b7-bc10-b1590a457daa" providerId="ADAL" clId="{37DD1F2C-1944-4F26-87C2-2064975D45C7}" dt="2022-07-26T14:30:32.249" v="1"/>
        <pc:sldMkLst>
          <pc:docMk/>
          <pc:sldMk cId="2046763801" sldId="338"/>
        </pc:sldMkLst>
        <pc:spChg chg="mod">
          <ac:chgData name="Ewen Trafford" userId="e520b4bf-a196-48b7-bc10-b1590a457daa" providerId="ADAL" clId="{37DD1F2C-1944-4F26-87C2-2064975D45C7}" dt="2022-07-26T14:30:32.249" v="1"/>
          <ac:spMkLst>
            <pc:docMk/>
            <pc:sldMk cId="2046763801" sldId="338"/>
            <ac:spMk id="2" creationId="{CB2517A4-E10A-E444-1061-434E356416A6}"/>
          </ac:spMkLst>
        </pc:spChg>
      </pc:sldChg>
      <pc:sldChg chg="modSp">
        <pc:chgData name="Ewen Trafford" userId="e520b4bf-a196-48b7-bc10-b1590a457daa" providerId="ADAL" clId="{37DD1F2C-1944-4F26-87C2-2064975D45C7}" dt="2022-07-26T14:30:32.249" v="1"/>
        <pc:sldMkLst>
          <pc:docMk/>
          <pc:sldMk cId="2070260529" sldId="339"/>
        </pc:sldMkLst>
        <pc:spChg chg="mod">
          <ac:chgData name="Ewen Trafford" userId="e520b4bf-a196-48b7-bc10-b1590a457daa" providerId="ADAL" clId="{37DD1F2C-1944-4F26-87C2-2064975D45C7}" dt="2022-07-26T14:30:32.249" v="1"/>
          <ac:spMkLst>
            <pc:docMk/>
            <pc:sldMk cId="2070260529" sldId="339"/>
            <ac:spMk id="2" creationId="{7F902433-BE09-580A-3E8C-C0DDD80ACC8F}"/>
          </ac:spMkLst>
        </pc:spChg>
      </pc:sldChg>
      <pc:sldChg chg="modSp mod">
        <pc:chgData name="Ewen Trafford" userId="e520b4bf-a196-48b7-bc10-b1590a457daa" providerId="ADAL" clId="{37DD1F2C-1944-4F26-87C2-2064975D45C7}" dt="2022-07-26T14:31:42.104" v="22" actId="20577"/>
        <pc:sldMkLst>
          <pc:docMk/>
          <pc:sldMk cId="1628781729" sldId="345"/>
        </pc:sldMkLst>
        <pc:spChg chg="mod">
          <ac:chgData name="Ewen Trafford" userId="e520b4bf-a196-48b7-bc10-b1590a457daa" providerId="ADAL" clId="{37DD1F2C-1944-4F26-87C2-2064975D45C7}" dt="2022-07-26T14:30:32.249" v="1"/>
          <ac:spMkLst>
            <pc:docMk/>
            <pc:sldMk cId="1628781729" sldId="345"/>
            <ac:spMk id="2" creationId="{74B8B1D9-E25C-F40A-522B-54113616FBDB}"/>
          </ac:spMkLst>
        </pc:spChg>
        <pc:spChg chg="mod">
          <ac:chgData name="Ewen Trafford" userId="e520b4bf-a196-48b7-bc10-b1590a457daa" providerId="ADAL" clId="{37DD1F2C-1944-4F26-87C2-2064975D45C7}" dt="2022-07-26T14:31:42.104" v="22" actId="20577"/>
          <ac:spMkLst>
            <pc:docMk/>
            <pc:sldMk cId="1628781729" sldId="345"/>
            <ac:spMk id="3" creationId="{8CAB9D22-B491-9AFA-4800-DD173F69AF8D}"/>
          </ac:spMkLst>
        </pc:spChg>
      </pc:sldChg>
      <pc:sldChg chg="modSp">
        <pc:chgData name="Ewen Trafford" userId="e520b4bf-a196-48b7-bc10-b1590a457daa" providerId="ADAL" clId="{37DD1F2C-1944-4F26-87C2-2064975D45C7}" dt="2022-07-26T14:30:32.249" v="1"/>
        <pc:sldMkLst>
          <pc:docMk/>
          <pc:sldMk cId="1044731279" sldId="350"/>
        </pc:sldMkLst>
        <pc:spChg chg="mod">
          <ac:chgData name="Ewen Trafford" userId="e520b4bf-a196-48b7-bc10-b1590a457daa" providerId="ADAL" clId="{37DD1F2C-1944-4F26-87C2-2064975D45C7}" dt="2022-07-26T14:30:32.249" v="1"/>
          <ac:spMkLst>
            <pc:docMk/>
            <pc:sldMk cId="1044731279" sldId="350"/>
            <ac:spMk id="2" creationId="{09C8F7D6-0DE9-55CD-510F-91955FB21153}"/>
          </ac:spMkLst>
        </pc:spChg>
      </pc:sldChg>
      <pc:sldChg chg="del">
        <pc:chgData name="Ewen Trafford" userId="e520b4bf-a196-48b7-bc10-b1590a457daa" providerId="ADAL" clId="{37DD1F2C-1944-4F26-87C2-2064975D45C7}" dt="2022-07-26T14:31:12.589" v="14" actId="47"/>
        <pc:sldMkLst>
          <pc:docMk/>
          <pc:sldMk cId="357386720" sldId="355"/>
        </pc:sldMkLst>
      </pc:sldChg>
      <pc:sldChg chg="addSp modSp add mod ord">
        <pc:chgData name="Ewen Trafford" userId="e520b4bf-a196-48b7-bc10-b1590a457daa" providerId="ADAL" clId="{37DD1F2C-1944-4F26-87C2-2064975D45C7}" dt="2022-08-03T09:28:12.830" v="5164" actId="20577"/>
        <pc:sldMkLst>
          <pc:docMk/>
          <pc:sldMk cId="3439367799" sldId="355"/>
        </pc:sldMkLst>
        <pc:spChg chg="mod">
          <ac:chgData name="Ewen Trafford" userId="e520b4bf-a196-48b7-bc10-b1590a457daa" providerId="ADAL" clId="{37DD1F2C-1944-4F26-87C2-2064975D45C7}" dt="2022-08-03T09:28:12.830" v="5164" actId="20577"/>
          <ac:spMkLst>
            <pc:docMk/>
            <pc:sldMk cId="3439367799" sldId="355"/>
            <ac:spMk id="2" creationId="{8C8F01D9-49FA-6C29-3674-01A422037CD5}"/>
          </ac:spMkLst>
        </pc:spChg>
        <pc:spChg chg="mod">
          <ac:chgData name="Ewen Trafford" userId="e520b4bf-a196-48b7-bc10-b1590a457daa" providerId="ADAL" clId="{37DD1F2C-1944-4F26-87C2-2064975D45C7}" dt="2022-08-03T09:22:42.962" v="4672" actId="14100"/>
          <ac:spMkLst>
            <pc:docMk/>
            <pc:sldMk cId="3439367799" sldId="355"/>
            <ac:spMk id="3" creationId="{11F1639A-5BD0-7C4B-622B-50E9B9EA0EE0}"/>
          </ac:spMkLst>
        </pc:spChg>
        <pc:spChg chg="add mod">
          <ac:chgData name="Ewen Trafford" userId="e520b4bf-a196-48b7-bc10-b1590a457daa" providerId="ADAL" clId="{37DD1F2C-1944-4F26-87C2-2064975D45C7}" dt="2022-08-03T09:28:10.071" v="5163" actId="1076"/>
          <ac:spMkLst>
            <pc:docMk/>
            <pc:sldMk cId="3439367799" sldId="355"/>
            <ac:spMk id="5" creationId="{15730178-6725-4ED1-A0F7-6EFDC321DCBC}"/>
          </ac:spMkLst>
        </pc:spChg>
        <pc:picChg chg="add mod">
          <ac:chgData name="Ewen Trafford" userId="e520b4bf-a196-48b7-bc10-b1590a457daa" providerId="ADAL" clId="{37DD1F2C-1944-4F26-87C2-2064975D45C7}" dt="2022-08-03T09:22:40.631" v="4671" actId="1076"/>
          <ac:picMkLst>
            <pc:docMk/>
            <pc:sldMk cId="3439367799" sldId="355"/>
            <ac:picMk id="1026" creationId="{BF2402B9-1C15-43A5-BA83-134E8CCB3763}"/>
          </ac:picMkLst>
        </pc:picChg>
      </pc:sldChg>
      <pc:sldChg chg="addSp modSp add mod">
        <pc:chgData name="Ewen Trafford" userId="e520b4bf-a196-48b7-bc10-b1590a457daa" providerId="ADAL" clId="{37DD1F2C-1944-4F26-87C2-2064975D45C7}" dt="2022-07-27T07:24:39.687" v="1931" actId="33524"/>
        <pc:sldMkLst>
          <pc:docMk/>
          <pc:sldMk cId="916145186" sldId="356"/>
        </pc:sldMkLst>
        <pc:spChg chg="mod">
          <ac:chgData name="Ewen Trafford" userId="e520b4bf-a196-48b7-bc10-b1590a457daa" providerId="ADAL" clId="{37DD1F2C-1944-4F26-87C2-2064975D45C7}" dt="2022-07-26T14:36:42.532" v="479" actId="20577"/>
          <ac:spMkLst>
            <pc:docMk/>
            <pc:sldMk cId="916145186" sldId="356"/>
            <ac:spMk id="2" creationId="{C0656FD1-4489-F55F-822B-620888FD55A9}"/>
          </ac:spMkLst>
        </pc:spChg>
        <pc:spChg chg="mod">
          <ac:chgData name="Ewen Trafford" userId="e520b4bf-a196-48b7-bc10-b1590a457daa" providerId="ADAL" clId="{37DD1F2C-1944-4F26-87C2-2064975D45C7}" dt="2022-07-27T07:24:39.687" v="1931" actId="33524"/>
          <ac:spMkLst>
            <pc:docMk/>
            <pc:sldMk cId="916145186" sldId="356"/>
            <ac:spMk id="6" creationId="{37F21B2D-0E3B-42DC-85A8-4511EB39D461}"/>
          </ac:spMkLst>
        </pc:spChg>
        <pc:picChg chg="add mod ord">
          <ac:chgData name="Ewen Trafford" userId="e520b4bf-a196-48b7-bc10-b1590a457daa" providerId="ADAL" clId="{37DD1F2C-1944-4F26-87C2-2064975D45C7}" dt="2022-07-26T15:24:14.986" v="1633" actId="167"/>
          <ac:picMkLst>
            <pc:docMk/>
            <pc:sldMk cId="916145186" sldId="356"/>
            <ac:picMk id="5" creationId="{617188A8-D3F8-46D2-906F-1CAEEFCE3417}"/>
          </ac:picMkLst>
        </pc:picChg>
      </pc:sldChg>
      <pc:sldChg chg="modSp del mod">
        <pc:chgData name="Ewen Trafford" userId="e520b4bf-a196-48b7-bc10-b1590a457daa" providerId="ADAL" clId="{37DD1F2C-1944-4F26-87C2-2064975D45C7}" dt="2022-07-26T14:31:31.279" v="20" actId="47"/>
        <pc:sldMkLst>
          <pc:docMk/>
          <pc:sldMk cId="2227979570" sldId="356"/>
        </pc:sldMkLst>
        <pc:graphicFrameChg chg="modGraphic">
          <ac:chgData name="Ewen Trafford" userId="e520b4bf-a196-48b7-bc10-b1590a457daa" providerId="ADAL" clId="{37DD1F2C-1944-4F26-87C2-2064975D45C7}" dt="2022-07-26T14:31:28.732" v="19" actId="6549"/>
          <ac:graphicFrameMkLst>
            <pc:docMk/>
            <pc:sldMk cId="2227979570" sldId="356"/>
            <ac:graphicFrameMk id="4" creationId="{852C40F4-3A0C-2C57-5C1A-53EF072895F3}"/>
          </ac:graphicFrameMkLst>
        </pc:graphicFrameChg>
      </pc:sldChg>
      <pc:sldChg chg="modSp add mod">
        <pc:chgData name="Ewen Trafford" userId="e520b4bf-a196-48b7-bc10-b1590a457daa" providerId="ADAL" clId="{37DD1F2C-1944-4F26-87C2-2064975D45C7}" dt="2022-07-26T14:36:47.692" v="482" actId="20577"/>
        <pc:sldMkLst>
          <pc:docMk/>
          <pc:sldMk cId="3446911517" sldId="357"/>
        </pc:sldMkLst>
        <pc:spChg chg="mod">
          <ac:chgData name="Ewen Trafford" userId="e520b4bf-a196-48b7-bc10-b1590a457daa" providerId="ADAL" clId="{37DD1F2C-1944-4F26-87C2-2064975D45C7}" dt="2022-07-26T14:36:47.692" v="482" actId="20577"/>
          <ac:spMkLst>
            <pc:docMk/>
            <pc:sldMk cId="3446911517" sldId="357"/>
            <ac:spMk id="2" creationId="{8C8F01D9-49FA-6C29-3674-01A422037CD5}"/>
          </ac:spMkLst>
        </pc:spChg>
      </pc:sldChg>
      <pc:sldChg chg="modSp add mod">
        <pc:chgData name="Ewen Trafford" userId="e520b4bf-a196-48b7-bc10-b1590a457daa" providerId="ADAL" clId="{37DD1F2C-1944-4F26-87C2-2064975D45C7}" dt="2022-07-26T14:36:52.557" v="483" actId="20577"/>
        <pc:sldMkLst>
          <pc:docMk/>
          <pc:sldMk cId="3789590919" sldId="358"/>
        </pc:sldMkLst>
        <pc:spChg chg="mod">
          <ac:chgData name="Ewen Trafford" userId="e520b4bf-a196-48b7-bc10-b1590a457daa" providerId="ADAL" clId="{37DD1F2C-1944-4F26-87C2-2064975D45C7}" dt="2022-07-26T14:36:52.557" v="483" actId="20577"/>
          <ac:spMkLst>
            <pc:docMk/>
            <pc:sldMk cId="3789590919" sldId="358"/>
            <ac:spMk id="2" creationId="{8C8F01D9-49FA-6C29-3674-01A422037CD5}"/>
          </ac:spMkLst>
        </pc:spChg>
      </pc:sldChg>
      <pc:sldChg chg="addSp delSp modSp add mod">
        <pc:chgData name="Ewen Trafford" userId="e520b4bf-a196-48b7-bc10-b1590a457daa" providerId="ADAL" clId="{37DD1F2C-1944-4F26-87C2-2064975D45C7}" dt="2022-07-26T15:26:30.114" v="1930" actId="20577"/>
        <pc:sldMkLst>
          <pc:docMk/>
          <pc:sldMk cId="231371897" sldId="359"/>
        </pc:sldMkLst>
        <pc:spChg chg="mod">
          <ac:chgData name="Ewen Trafford" userId="e520b4bf-a196-48b7-bc10-b1590a457daa" providerId="ADAL" clId="{37DD1F2C-1944-4F26-87C2-2064975D45C7}" dt="2022-07-26T14:54:33.077" v="642" actId="1076"/>
          <ac:spMkLst>
            <pc:docMk/>
            <pc:sldMk cId="231371897" sldId="359"/>
            <ac:spMk id="2" creationId="{C0656FD1-4489-F55F-822B-620888FD55A9}"/>
          </ac:spMkLst>
        </pc:spChg>
        <pc:spChg chg="del">
          <ac:chgData name="Ewen Trafford" userId="e520b4bf-a196-48b7-bc10-b1590a457daa" providerId="ADAL" clId="{37DD1F2C-1944-4F26-87C2-2064975D45C7}" dt="2022-07-26T14:42:20.576" v="515" actId="478"/>
          <ac:spMkLst>
            <pc:docMk/>
            <pc:sldMk cId="231371897" sldId="359"/>
            <ac:spMk id="3" creationId="{BE28E501-5A4E-D1A3-A7D8-65D153A748C4}"/>
          </ac:spMkLst>
        </pc:spChg>
        <pc:spChg chg="add del mod">
          <ac:chgData name="Ewen Trafford" userId="e520b4bf-a196-48b7-bc10-b1590a457daa" providerId="ADAL" clId="{37DD1F2C-1944-4F26-87C2-2064975D45C7}" dt="2022-07-26T14:42:20.578" v="517"/>
          <ac:spMkLst>
            <pc:docMk/>
            <pc:sldMk cId="231371897" sldId="359"/>
            <ac:spMk id="4" creationId="{661A44EA-EC60-4DF7-944A-0ED930D79180}"/>
          </ac:spMkLst>
        </pc:spChg>
        <pc:spChg chg="add del mod">
          <ac:chgData name="Ewen Trafford" userId="e520b4bf-a196-48b7-bc10-b1590a457daa" providerId="ADAL" clId="{37DD1F2C-1944-4F26-87C2-2064975D45C7}" dt="2022-07-26T14:39:45.685" v="510"/>
          <ac:spMkLst>
            <pc:docMk/>
            <pc:sldMk cId="231371897" sldId="359"/>
            <ac:spMk id="5" creationId="{DFC5DEDC-F908-4D79-A89C-8F94593AE32F}"/>
          </ac:spMkLst>
        </pc:spChg>
        <pc:spChg chg="del">
          <ac:chgData name="Ewen Trafford" userId="e520b4bf-a196-48b7-bc10-b1590a457daa" providerId="ADAL" clId="{37DD1F2C-1944-4F26-87C2-2064975D45C7}" dt="2022-07-26T14:39:43.852" v="508" actId="478"/>
          <ac:spMkLst>
            <pc:docMk/>
            <pc:sldMk cId="231371897" sldId="359"/>
            <ac:spMk id="6" creationId="{37F21B2D-0E3B-42DC-85A8-4511EB39D461}"/>
          </ac:spMkLst>
        </pc:spChg>
        <pc:spChg chg="add mod ord">
          <ac:chgData name="Ewen Trafford" userId="e520b4bf-a196-48b7-bc10-b1590a457daa" providerId="ADAL" clId="{37DD1F2C-1944-4F26-87C2-2064975D45C7}" dt="2022-07-26T14:53:57.694" v="635" actId="164"/>
          <ac:spMkLst>
            <pc:docMk/>
            <pc:sldMk cId="231371897" sldId="359"/>
            <ac:spMk id="7" creationId="{56F63FEB-B82B-48B4-8EE1-286E2C4CF4E1}"/>
          </ac:spMkLst>
        </pc:spChg>
        <pc:spChg chg="add del mod">
          <ac:chgData name="Ewen Trafford" userId="e520b4bf-a196-48b7-bc10-b1590a457daa" providerId="ADAL" clId="{37DD1F2C-1944-4F26-87C2-2064975D45C7}" dt="2022-07-26T14:42:20.579" v="519"/>
          <ac:spMkLst>
            <pc:docMk/>
            <pc:sldMk cId="231371897" sldId="359"/>
            <ac:spMk id="11" creationId="{7CC9812C-1D9F-4C4C-A192-C5D57F66F780}"/>
          </ac:spMkLst>
        </pc:spChg>
        <pc:spChg chg="add del mod">
          <ac:chgData name="Ewen Trafford" userId="e520b4bf-a196-48b7-bc10-b1590a457daa" providerId="ADAL" clId="{37DD1F2C-1944-4F26-87C2-2064975D45C7}" dt="2022-07-26T14:42:21.683" v="520" actId="478"/>
          <ac:spMkLst>
            <pc:docMk/>
            <pc:sldMk cId="231371897" sldId="359"/>
            <ac:spMk id="13" creationId="{E470A75B-BFB9-4A2D-A579-BEF8756CAAFE}"/>
          </ac:spMkLst>
        </pc:spChg>
        <pc:spChg chg="add del mod">
          <ac:chgData name="Ewen Trafford" userId="e520b4bf-a196-48b7-bc10-b1590a457daa" providerId="ADAL" clId="{37DD1F2C-1944-4F26-87C2-2064975D45C7}" dt="2022-07-26T14:46:41.135" v="548" actId="478"/>
          <ac:spMkLst>
            <pc:docMk/>
            <pc:sldMk cId="231371897" sldId="359"/>
            <ac:spMk id="14" creationId="{0A9E445F-FBFE-41C2-B8C7-365E92BCBBE0}"/>
          </ac:spMkLst>
        </pc:spChg>
        <pc:spChg chg="add mod ord">
          <ac:chgData name="Ewen Trafford" userId="e520b4bf-a196-48b7-bc10-b1590a457daa" providerId="ADAL" clId="{37DD1F2C-1944-4F26-87C2-2064975D45C7}" dt="2022-07-26T14:57:06.738" v="683" actId="167"/>
          <ac:spMkLst>
            <pc:docMk/>
            <pc:sldMk cId="231371897" sldId="359"/>
            <ac:spMk id="15" creationId="{BF0D02B3-4C69-428F-9ED9-0F3900BC35F9}"/>
          </ac:spMkLst>
        </pc:spChg>
        <pc:spChg chg="add mod ord">
          <ac:chgData name="Ewen Trafford" userId="e520b4bf-a196-48b7-bc10-b1590a457daa" providerId="ADAL" clId="{37DD1F2C-1944-4F26-87C2-2064975D45C7}" dt="2022-07-26T14:57:23.737" v="689" actId="167"/>
          <ac:spMkLst>
            <pc:docMk/>
            <pc:sldMk cId="231371897" sldId="359"/>
            <ac:spMk id="16" creationId="{422DC05F-7C56-4570-A6BD-74B6DC29914D}"/>
          </ac:spMkLst>
        </pc:spChg>
        <pc:spChg chg="add mod">
          <ac:chgData name="Ewen Trafford" userId="e520b4bf-a196-48b7-bc10-b1590a457daa" providerId="ADAL" clId="{37DD1F2C-1944-4F26-87C2-2064975D45C7}" dt="2022-07-26T14:48:31.519" v="577" actId="571"/>
          <ac:spMkLst>
            <pc:docMk/>
            <pc:sldMk cId="231371897" sldId="359"/>
            <ac:spMk id="17" creationId="{631C8136-A464-448C-8779-4408874A941D}"/>
          </ac:spMkLst>
        </pc:spChg>
        <pc:spChg chg="mod">
          <ac:chgData name="Ewen Trafford" userId="e520b4bf-a196-48b7-bc10-b1590a457daa" providerId="ADAL" clId="{37DD1F2C-1944-4F26-87C2-2064975D45C7}" dt="2022-07-26T14:49:05.594" v="584"/>
          <ac:spMkLst>
            <pc:docMk/>
            <pc:sldMk cId="231371897" sldId="359"/>
            <ac:spMk id="24" creationId="{B0CCF63A-8DE5-494D-AE9F-49597F5C88ED}"/>
          </ac:spMkLst>
        </pc:spChg>
        <pc:spChg chg="mod">
          <ac:chgData name="Ewen Trafford" userId="e520b4bf-a196-48b7-bc10-b1590a457daa" providerId="ADAL" clId="{37DD1F2C-1944-4F26-87C2-2064975D45C7}" dt="2022-07-26T14:49:05.594" v="584"/>
          <ac:spMkLst>
            <pc:docMk/>
            <pc:sldMk cId="231371897" sldId="359"/>
            <ac:spMk id="25" creationId="{01D2D5D5-A06B-49F5-BC5A-601FF71D2DF2}"/>
          </ac:spMkLst>
        </pc:spChg>
        <pc:spChg chg="mod">
          <ac:chgData name="Ewen Trafford" userId="e520b4bf-a196-48b7-bc10-b1590a457daa" providerId="ADAL" clId="{37DD1F2C-1944-4F26-87C2-2064975D45C7}" dt="2022-07-26T14:50:06.814" v="599"/>
          <ac:spMkLst>
            <pc:docMk/>
            <pc:sldMk cId="231371897" sldId="359"/>
            <ac:spMk id="28" creationId="{95C5975E-501D-42F6-8044-8BFDE00D33D7}"/>
          </ac:spMkLst>
        </pc:spChg>
        <pc:spChg chg="mod">
          <ac:chgData name="Ewen Trafford" userId="e520b4bf-a196-48b7-bc10-b1590a457daa" providerId="ADAL" clId="{37DD1F2C-1944-4F26-87C2-2064975D45C7}" dt="2022-07-26T14:50:06.814" v="599"/>
          <ac:spMkLst>
            <pc:docMk/>
            <pc:sldMk cId="231371897" sldId="359"/>
            <ac:spMk id="29" creationId="{6EB899A9-ABCF-425F-9244-6E1B7A0871FA}"/>
          </ac:spMkLst>
        </pc:spChg>
        <pc:spChg chg="add mod">
          <ac:chgData name="Ewen Trafford" userId="e520b4bf-a196-48b7-bc10-b1590a457daa" providerId="ADAL" clId="{37DD1F2C-1944-4F26-87C2-2064975D45C7}" dt="2022-07-26T14:54:05.214" v="637" actId="164"/>
          <ac:spMkLst>
            <pc:docMk/>
            <pc:sldMk cId="231371897" sldId="359"/>
            <ac:spMk id="30" creationId="{0BA830F7-F37C-4117-9542-5D229C34295B}"/>
          </ac:spMkLst>
        </pc:spChg>
        <pc:spChg chg="mod">
          <ac:chgData name="Ewen Trafford" userId="e520b4bf-a196-48b7-bc10-b1590a457daa" providerId="ADAL" clId="{37DD1F2C-1944-4F26-87C2-2064975D45C7}" dt="2022-07-26T14:50:38.475" v="601"/>
          <ac:spMkLst>
            <pc:docMk/>
            <pc:sldMk cId="231371897" sldId="359"/>
            <ac:spMk id="35" creationId="{8F6E309B-02FC-4D99-8654-E44D21974AD5}"/>
          </ac:spMkLst>
        </pc:spChg>
        <pc:spChg chg="mod">
          <ac:chgData name="Ewen Trafford" userId="e520b4bf-a196-48b7-bc10-b1590a457daa" providerId="ADAL" clId="{37DD1F2C-1944-4F26-87C2-2064975D45C7}" dt="2022-07-26T14:50:38.475" v="601"/>
          <ac:spMkLst>
            <pc:docMk/>
            <pc:sldMk cId="231371897" sldId="359"/>
            <ac:spMk id="36" creationId="{32EFF1B4-376E-4CE2-97FE-6B29EC34E0B5}"/>
          </ac:spMkLst>
        </pc:spChg>
        <pc:spChg chg="mod">
          <ac:chgData name="Ewen Trafford" userId="e520b4bf-a196-48b7-bc10-b1590a457daa" providerId="ADAL" clId="{37DD1F2C-1944-4F26-87C2-2064975D45C7}" dt="2022-07-26T14:50:38.475" v="601"/>
          <ac:spMkLst>
            <pc:docMk/>
            <pc:sldMk cId="231371897" sldId="359"/>
            <ac:spMk id="38" creationId="{318A14B4-8955-4403-A95A-ADE01F1FB245}"/>
          </ac:spMkLst>
        </pc:spChg>
        <pc:spChg chg="mod">
          <ac:chgData name="Ewen Trafford" userId="e520b4bf-a196-48b7-bc10-b1590a457daa" providerId="ADAL" clId="{37DD1F2C-1944-4F26-87C2-2064975D45C7}" dt="2022-07-26T14:50:38.475" v="601"/>
          <ac:spMkLst>
            <pc:docMk/>
            <pc:sldMk cId="231371897" sldId="359"/>
            <ac:spMk id="39" creationId="{25E6094B-B824-4171-9F21-C5C0BAA42C2E}"/>
          </ac:spMkLst>
        </pc:spChg>
        <pc:spChg chg="add del mod">
          <ac:chgData name="Ewen Trafford" userId="e520b4bf-a196-48b7-bc10-b1590a457daa" providerId="ADAL" clId="{37DD1F2C-1944-4F26-87C2-2064975D45C7}" dt="2022-07-26T14:51:18.377" v="608"/>
          <ac:spMkLst>
            <pc:docMk/>
            <pc:sldMk cId="231371897" sldId="359"/>
            <ac:spMk id="41" creationId="{AA334E0B-7F18-4FC0-9F22-715D02E6D526}"/>
          </ac:spMkLst>
        </pc:spChg>
        <pc:spChg chg="add del mod">
          <ac:chgData name="Ewen Trafford" userId="e520b4bf-a196-48b7-bc10-b1590a457daa" providerId="ADAL" clId="{37DD1F2C-1944-4F26-87C2-2064975D45C7}" dt="2022-07-26T14:51:18.377" v="608"/>
          <ac:spMkLst>
            <pc:docMk/>
            <pc:sldMk cId="231371897" sldId="359"/>
            <ac:spMk id="43" creationId="{F738F2C1-1D53-47B5-9ED4-16AB4EF6169E}"/>
          </ac:spMkLst>
        </pc:spChg>
        <pc:spChg chg="add mod">
          <ac:chgData name="Ewen Trafford" userId="e520b4bf-a196-48b7-bc10-b1590a457daa" providerId="ADAL" clId="{37DD1F2C-1944-4F26-87C2-2064975D45C7}" dt="2022-07-26T14:53:50.094" v="633" actId="403"/>
          <ac:spMkLst>
            <pc:docMk/>
            <pc:sldMk cId="231371897" sldId="359"/>
            <ac:spMk id="47" creationId="{F2E22F1B-1338-4B95-AAC6-42015826A94F}"/>
          </ac:spMkLst>
        </pc:spChg>
        <pc:spChg chg="add mod">
          <ac:chgData name="Ewen Trafford" userId="e520b4bf-a196-48b7-bc10-b1590a457daa" providerId="ADAL" clId="{37DD1F2C-1944-4F26-87C2-2064975D45C7}" dt="2022-07-26T14:54:02.491" v="636" actId="164"/>
          <ac:spMkLst>
            <pc:docMk/>
            <pc:sldMk cId="231371897" sldId="359"/>
            <ac:spMk id="54" creationId="{75D89F36-85BC-4888-A47B-2F28F1086B58}"/>
          </ac:spMkLst>
        </pc:spChg>
        <pc:spChg chg="mod">
          <ac:chgData name="Ewen Trafford" userId="e520b4bf-a196-48b7-bc10-b1590a457daa" providerId="ADAL" clId="{37DD1F2C-1944-4F26-87C2-2064975D45C7}" dt="2022-07-26T14:53:18.125" v="626"/>
          <ac:spMkLst>
            <pc:docMk/>
            <pc:sldMk cId="231371897" sldId="359"/>
            <ac:spMk id="59" creationId="{F815B21D-7099-416A-96D9-1B1EAFAEA05E}"/>
          </ac:spMkLst>
        </pc:spChg>
        <pc:spChg chg="mod">
          <ac:chgData name="Ewen Trafford" userId="e520b4bf-a196-48b7-bc10-b1590a457daa" providerId="ADAL" clId="{37DD1F2C-1944-4F26-87C2-2064975D45C7}" dt="2022-07-26T14:53:18.125" v="626"/>
          <ac:spMkLst>
            <pc:docMk/>
            <pc:sldMk cId="231371897" sldId="359"/>
            <ac:spMk id="60" creationId="{B6FDB2DF-6E8A-4F51-89EA-6419DD1544AF}"/>
          </ac:spMkLst>
        </pc:spChg>
        <pc:spChg chg="mod">
          <ac:chgData name="Ewen Trafford" userId="e520b4bf-a196-48b7-bc10-b1590a457daa" providerId="ADAL" clId="{37DD1F2C-1944-4F26-87C2-2064975D45C7}" dt="2022-07-26T14:53:18.125" v="626"/>
          <ac:spMkLst>
            <pc:docMk/>
            <pc:sldMk cId="231371897" sldId="359"/>
            <ac:spMk id="65" creationId="{D4F633F2-E45D-4561-A6E5-D8630254D799}"/>
          </ac:spMkLst>
        </pc:spChg>
        <pc:spChg chg="add mod">
          <ac:chgData name="Ewen Trafford" userId="e520b4bf-a196-48b7-bc10-b1590a457daa" providerId="ADAL" clId="{37DD1F2C-1944-4F26-87C2-2064975D45C7}" dt="2022-07-26T14:54:02.491" v="636" actId="164"/>
          <ac:spMkLst>
            <pc:docMk/>
            <pc:sldMk cId="231371897" sldId="359"/>
            <ac:spMk id="67" creationId="{E28E92EF-075E-40C1-86A6-5269802A2E1D}"/>
          </ac:spMkLst>
        </pc:spChg>
        <pc:spChg chg="add mod">
          <ac:chgData name="Ewen Trafford" userId="e520b4bf-a196-48b7-bc10-b1590a457daa" providerId="ADAL" clId="{37DD1F2C-1944-4F26-87C2-2064975D45C7}" dt="2022-07-26T15:04:03.764" v="756" actId="164"/>
          <ac:spMkLst>
            <pc:docMk/>
            <pc:sldMk cId="231371897" sldId="359"/>
            <ac:spMk id="71" creationId="{2909A52D-0D89-4FF4-B21E-03AE7B9081C7}"/>
          </ac:spMkLst>
        </pc:spChg>
        <pc:spChg chg="add mod topLvl">
          <ac:chgData name="Ewen Trafford" userId="e520b4bf-a196-48b7-bc10-b1590a457daa" providerId="ADAL" clId="{37DD1F2C-1944-4F26-87C2-2064975D45C7}" dt="2022-07-26T14:58:31.220" v="701" actId="164"/>
          <ac:spMkLst>
            <pc:docMk/>
            <pc:sldMk cId="231371897" sldId="359"/>
            <ac:spMk id="81" creationId="{4379812B-5466-4731-8856-348D2BB15FA0}"/>
          </ac:spMkLst>
        </pc:spChg>
        <pc:spChg chg="add mod ord topLvl">
          <ac:chgData name="Ewen Trafford" userId="e520b4bf-a196-48b7-bc10-b1590a457daa" providerId="ADAL" clId="{37DD1F2C-1944-4F26-87C2-2064975D45C7}" dt="2022-07-26T14:58:31.220" v="701" actId="164"/>
          <ac:spMkLst>
            <pc:docMk/>
            <pc:sldMk cId="231371897" sldId="359"/>
            <ac:spMk id="82" creationId="{B23F807B-3CE0-4226-A926-90E25D0D7B00}"/>
          </ac:spMkLst>
        </pc:spChg>
        <pc:spChg chg="add mod">
          <ac:chgData name="Ewen Trafford" userId="e520b4bf-a196-48b7-bc10-b1590a457daa" providerId="ADAL" clId="{37DD1F2C-1944-4F26-87C2-2064975D45C7}" dt="2022-07-26T15:03:39.636" v="752" actId="164"/>
          <ac:spMkLst>
            <pc:docMk/>
            <pc:sldMk cId="231371897" sldId="359"/>
            <ac:spMk id="85" creationId="{DBC6905E-50A4-441F-9A0D-8D36C68D8F7D}"/>
          </ac:spMkLst>
        </pc:spChg>
        <pc:spChg chg="mod">
          <ac:chgData name="Ewen Trafford" userId="e520b4bf-a196-48b7-bc10-b1590a457daa" providerId="ADAL" clId="{37DD1F2C-1944-4F26-87C2-2064975D45C7}" dt="2022-07-26T14:58:50.395" v="702"/>
          <ac:spMkLst>
            <pc:docMk/>
            <pc:sldMk cId="231371897" sldId="359"/>
            <ac:spMk id="89" creationId="{8EF10E00-E110-417A-BC0F-2672C747C3B6}"/>
          </ac:spMkLst>
        </pc:spChg>
        <pc:spChg chg="mod">
          <ac:chgData name="Ewen Trafford" userId="e520b4bf-a196-48b7-bc10-b1590a457daa" providerId="ADAL" clId="{37DD1F2C-1944-4F26-87C2-2064975D45C7}" dt="2022-07-26T14:58:50.395" v="702"/>
          <ac:spMkLst>
            <pc:docMk/>
            <pc:sldMk cId="231371897" sldId="359"/>
            <ac:spMk id="90" creationId="{7DEBE52C-0A21-4EF0-BA9D-62A812422579}"/>
          </ac:spMkLst>
        </pc:spChg>
        <pc:spChg chg="add mod">
          <ac:chgData name="Ewen Trafford" userId="e520b4bf-a196-48b7-bc10-b1590a457daa" providerId="ADAL" clId="{37DD1F2C-1944-4F26-87C2-2064975D45C7}" dt="2022-07-26T15:03:42.795" v="753" actId="164"/>
          <ac:spMkLst>
            <pc:docMk/>
            <pc:sldMk cId="231371897" sldId="359"/>
            <ac:spMk id="91" creationId="{5458F3B9-B90B-46B4-8401-2DB89FB28C93}"/>
          </ac:spMkLst>
        </pc:spChg>
        <pc:spChg chg="mod">
          <ac:chgData name="Ewen Trafford" userId="e520b4bf-a196-48b7-bc10-b1590a457daa" providerId="ADAL" clId="{37DD1F2C-1944-4F26-87C2-2064975D45C7}" dt="2022-07-26T14:59:07.217" v="704"/>
          <ac:spMkLst>
            <pc:docMk/>
            <pc:sldMk cId="231371897" sldId="359"/>
            <ac:spMk id="95" creationId="{6C0EC28D-9C09-437E-89AF-A4A10ECF91EB}"/>
          </ac:spMkLst>
        </pc:spChg>
        <pc:spChg chg="mod">
          <ac:chgData name="Ewen Trafford" userId="e520b4bf-a196-48b7-bc10-b1590a457daa" providerId="ADAL" clId="{37DD1F2C-1944-4F26-87C2-2064975D45C7}" dt="2022-07-26T14:59:07.217" v="704"/>
          <ac:spMkLst>
            <pc:docMk/>
            <pc:sldMk cId="231371897" sldId="359"/>
            <ac:spMk id="96" creationId="{5F897EA4-83FF-4386-ACED-A68993434066}"/>
          </ac:spMkLst>
        </pc:spChg>
        <pc:spChg chg="add mod">
          <ac:chgData name="Ewen Trafford" userId="e520b4bf-a196-48b7-bc10-b1590a457daa" providerId="ADAL" clId="{37DD1F2C-1944-4F26-87C2-2064975D45C7}" dt="2022-07-26T15:03:45.724" v="754" actId="164"/>
          <ac:spMkLst>
            <pc:docMk/>
            <pc:sldMk cId="231371897" sldId="359"/>
            <ac:spMk id="97" creationId="{67FE2402-54F4-4FCF-8E6B-EC92B0BA0BCE}"/>
          </ac:spMkLst>
        </pc:spChg>
        <pc:spChg chg="mod">
          <ac:chgData name="Ewen Trafford" userId="e520b4bf-a196-48b7-bc10-b1590a457daa" providerId="ADAL" clId="{37DD1F2C-1944-4F26-87C2-2064975D45C7}" dt="2022-07-26T14:59:09.797" v="706"/>
          <ac:spMkLst>
            <pc:docMk/>
            <pc:sldMk cId="231371897" sldId="359"/>
            <ac:spMk id="101" creationId="{ACCFAD97-AEC6-4F83-A2E3-EE1B1A4A55F1}"/>
          </ac:spMkLst>
        </pc:spChg>
        <pc:spChg chg="mod">
          <ac:chgData name="Ewen Trafford" userId="e520b4bf-a196-48b7-bc10-b1590a457daa" providerId="ADAL" clId="{37DD1F2C-1944-4F26-87C2-2064975D45C7}" dt="2022-07-26T14:59:09.797" v="706"/>
          <ac:spMkLst>
            <pc:docMk/>
            <pc:sldMk cId="231371897" sldId="359"/>
            <ac:spMk id="102" creationId="{CE3452CA-FFB2-4875-AF85-E8F2C1208B4A}"/>
          </ac:spMkLst>
        </pc:spChg>
        <pc:spChg chg="add mod">
          <ac:chgData name="Ewen Trafford" userId="e520b4bf-a196-48b7-bc10-b1590a457daa" providerId="ADAL" clId="{37DD1F2C-1944-4F26-87C2-2064975D45C7}" dt="2022-07-26T14:59:47.452" v="714" actId="164"/>
          <ac:spMkLst>
            <pc:docMk/>
            <pc:sldMk cId="231371897" sldId="359"/>
            <ac:spMk id="103" creationId="{5686AC8C-D6F0-45DE-82F9-7351C635AD3A}"/>
          </ac:spMkLst>
        </pc:spChg>
        <pc:spChg chg="mod">
          <ac:chgData name="Ewen Trafford" userId="e520b4bf-a196-48b7-bc10-b1590a457daa" providerId="ADAL" clId="{37DD1F2C-1944-4F26-87C2-2064975D45C7}" dt="2022-07-26T14:59:12.145" v="708"/>
          <ac:spMkLst>
            <pc:docMk/>
            <pc:sldMk cId="231371897" sldId="359"/>
            <ac:spMk id="107" creationId="{1585DFEE-E008-4F0E-A363-313C9F95FFC7}"/>
          </ac:spMkLst>
        </pc:spChg>
        <pc:spChg chg="mod">
          <ac:chgData name="Ewen Trafford" userId="e520b4bf-a196-48b7-bc10-b1590a457daa" providerId="ADAL" clId="{37DD1F2C-1944-4F26-87C2-2064975D45C7}" dt="2022-07-26T14:59:12.145" v="708"/>
          <ac:spMkLst>
            <pc:docMk/>
            <pc:sldMk cId="231371897" sldId="359"/>
            <ac:spMk id="108" creationId="{01C80825-AB87-4637-AD83-038A77021893}"/>
          </ac:spMkLst>
        </pc:spChg>
        <pc:spChg chg="add mod">
          <ac:chgData name="Ewen Trafford" userId="e520b4bf-a196-48b7-bc10-b1590a457daa" providerId="ADAL" clId="{37DD1F2C-1944-4F26-87C2-2064975D45C7}" dt="2022-07-26T15:03:39.636" v="752" actId="164"/>
          <ac:spMkLst>
            <pc:docMk/>
            <pc:sldMk cId="231371897" sldId="359"/>
            <ac:spMk id="110" creationId="{CA1914CE-B896-4435-A89D-A6C1EB355C25}"/>
          </ac:spMkLst>
        </pc:spChg>
        <pc:spChg chg="add mod">
          <ac:chgData name="Ewen Trafford" userId="e520b4bf-a196-48b7-bc10-b1590a457daa" providerId="ADAL" clId="{37DD1F2C-1944-4F26-87C2-2064975D45C7}" dt="2022-07-26T15:03:39.636" v="752" actId="164"/>
          <ac:spMkLst>
            <pc:docMk/>
            <pc:sldMk cId="231371897" sldId="359"/>
            <ac:spMk id="111" creationId="{BDDCBBC2-C965-48B7-822C-CA61D39DBF47}"/>
          </ac:spMkLst>
        </pc:spChg>
        <pc:spChg chg="add mod">
          <ac:chgData name="Ewen Trafford" userId="e520b4bf-a196-48b7-bc10-b1590a457daa" providerId="ADAL" clId="{37DD1F2C-1944-4F26-87C2-2064975D45C7}" dt="2022-07-26T15:03:42.795" v="753" actId="164"/>
          <ac:spMkLst>
            <pc:docMk/>
            <pc:sldMk cId="231371897" sldId="359"/>
            <ac:spMk id="112" creationId="{8499359A-611D-4A4D-95EB-76785CB2DFD3}"/>
          </ac:spMkLst>
        </pc:spChg>
        <pc:spChg chg="add mod">
          <ac:chgData name="Ewen Trafford" userId="e520b4bf-a196-48b7-bc10-b1590a457daa" providerId="ADAL" clId="{37DD1F2C-1944-4F26-87C2-2064975D45C7}" dt="2022-07-26T15:03:42.795" v="753" actId="164"/>
          <ac:spMkLst>
            <pc:docMk/>
            <pc:sldMk cId="231371897" sldId="359"/>
            <ac:spMk id="113" creationId="{546C3D79-73D4-4E5B-8113-3F401859F6DA}"/>
          </ac:spMkLst>
        </pc:spChg>
        <pc:spChg chg="add mod">
          <ac:chgData name="Ewen Trafford" userId="e520b4bf-a196-48b7-bc10-b1590a457daa" providerId="ADAL" clId="{37DD1F2C-1944-4F26-87C2-2064975D45C7}" dt="2022-07-26T15:03:45.724" v="754" actId="164"/>
          <ac:spMkLst>
            <pc:docMk/>
            <pc:sldMk cId="231371897" sldId="359"/>
            <ac:spMk id="114" creationId="{2BE57A40-330E-447B-82A3-2EB34951AEF1}"/>
          </ac:spMkLst>
        </pc:spChg>
        <pc:spChg chg="add mod">
          <ac:chgData name="Ewen Trafford" userId="e520b4bf-a196-48b7-bc10-b1590a457daa" providerId="ADAL" clId="{37DD1F2C-1944-4F26-87C2-2064975D45C7}" dt="2022-07-26T15:03:45.724" v="754" actId="164"/>
          <ac:spMkLst>
            <pc:docMk/>
            <pc:sldMk cId="231371897" sldId="359"/>
            <ac:spMk id="115" creationId="{99133B71-CF79-4985-B989-D860C8DBF6BE}"/>
          </ac:spMkLst>
        </pc:spChg>
        <pc:spChg chg="add mod">
          <ac:chgData name="Ewen Trafford" userId="e520b4bf-a196-48b7-bc10-b1590a457daa" providerId="ADAL" clId="{37DD1F2C-1944-4F26-87C2-2064975D45C7}" dt="2022-07-26T15:03:51.399" v="755" actId="164"/>
          <ac:spMkLst>
            <pc:docMk/>
            <pc:sldMk cId="231371897" sldId="359"/>
            <ac:spMk id="116" creationId="{98A43F0F-39C6-4382-AC3E-5BCACFC763BB}"/>
          </ac:spMkLst>
        </pc:spChg>
        <pc:spChg chg="add mod">
          <ac:chgData name="Ewen Trafford" userId="e520b4bf-a196-48b7-bc10-b1590a457daa" providerId="ADAL" clId="{37DD1F2C-1944-4F26-87C2-2064975D45C7}" dt="2022-07-26T15:03:51.399" v="755" actId="164"/>
          <ac:spMkLst>
            <pc:docMk/>
            <pc:sldMk cId="231371897" sldId="359"/>
            <ac:spMk id="117" creationId="{3D2A9194-507F-4323-B625-C442699397CD}"/>
          </ac:spMkLst>
        </pc:spChg>
        <pc:spChg chg="add mod">
          <ac:chgData name="Ewen Trafford" userId="e520b4bf-a196-48b7-bc10-b1590a457daa" providerId="ADAL" clId="{37DD1F2C-1944-4F26-87C2-2064975D45C7}" dt="2022-07-26T15:03:45.724" v="754" actId="164"/>
          <ac:spMkLst>
            <pc:docMk/>
            <pc:sldMk cId="231371897" sldId="359"/>
            <ac:spMk id="118" creationId="{ED486E4B-FF83-4CD1-9288-3909B4186D58}"/>
          </ac:spMkLst>
        </pc:spChg>
        <pc:spChg chg="add mod">
          <ac:chgData name="Ewen Trafford" userId="e520b4bf-a196-48b7-bc10-b1590a457daa" providerId="ADAL" clId="{37DD1F2C-1944-4F26-87C2-2064975D45C7}" dt="2022-07-26T15:03:45.724" v="754" actId="164"/>
          <ac:spMkLst>
            <pc:docMk/>
            <pc:sldMk cId="231371897" sldId="359"/>
            <ac:spMk id="119" creationId="{6FBF0B7A-AF02-49A3-BE40-0B269A29CC4D}"/>
          </ac:spMkLst>
        </pc:spChg>
        <pc:spChg chg="add mod topLvl">
          <ac:chgData name="Ewen Trafford" userId="e520b4bf-a196-48b7-bc10-b1590a457daa" providerId="ADAL" clId="{37DD1F2C-1944-4F26-87C2-2064975D45C7}" dt="2022-07-26T15:03:39.636" v="752" actId="164"/>
          <ac:spMkLst>
            <pc:docMk/>
            <pc:sldMk cId="231371897" sldId="359"/>
            <ac:spMk id="122" creationId="{4153A9DD-65CC-4F65-852F-176D2FAF8178}"/>
          </ac:spMkLst>
        </pc:spChg>
        <pc:spChg chg="add mod">
          <ac:chgData name="Ewen Trafford" userId="e520b4bf-a196-48b7-bc10-b1590a457daa" providerId="ADAL" clId="{37DD1F2C-1944-4F26-87C2-2064975D45C7}" dt="2022-07-26T15:15:24.380" v="1429" actId="20577"/>
          <ac:spMkLst>
            <pc:docMk/>
            <pc:sldMk cId="231371897" sldId="359"/>
            <ac:spMk id="132" creationId="{E60C900B-0922-40DC-A222-D069AA02C3D2}"/>
          </ac:spMkLst>
        </pc:spChg>
        <pc:spChg chg="add mod">
          <ac:chgData name="Ewen Trafford" userId="e520b4bf-a196-48b7-bc10-b1590a457daa" providerId="ADAL" clId="{37DD1F2C-1944-4F26-87C2-2064975D45C7}" dt="2022-07-26T15:26:23.814" v="1919" actId="20577"/>
          <ac:spMkLst>
            <pc:docMk/>
            <pc:sldMk cId="231371897" sldId="359"/>
            <ac:spMk id="133" creationId="{2EA65C2B-5D70-4F10-8176-87343A94735F}"/>
          </ac:spMkLst>
        </pc:spChg>
        <pc:spChg chg="add mod">
          <ac:chgData name="Ewen Trafford" userId="e520b4bf-a196-48b7-bc10-b1590a457daa" providerId="ADAL" clId="{37DD1F2C-1944-4F26-87C2-2064975D45C7}" dt="2022-07-26T15:15:14.805" v="1420" actId="20577"/>
          <ac:spMkLst>
            <pc:docMk/>
            <pc:sldMk cId="231371897" sldId="359"/>
            <ac:spMk id="134" creationId="{22854D73-EA63-4326-AECD-5EFB6D31E200}"/>
          </ac:spMkLst>
        </pc:spChg>
        <pc:spChg chg="add mod">
          <ac:chgData name="Ewen Trafford" userId="e520b4bf-a196-48b7-bc10-b1590a457daa" providerId="ADAL" clId="{37DD1F2C-1944-4F26-87C2-2064975D45C7}" dt="2022-07-26T15:26:30.114" v="1930" actId="20577"/>
          <ac:spMkLst>
            <pc:docMk/>
            <pc:sldMk cId="231371897" sldId="359"/>
            <ac:spMk id="135" creationId="{5E90BFF5-FA38-4B82-8DC1-CFC2A3F2A916}"/>
          </ac:spMkLst>
        </pc:spChg>
        <pc:spChg chg="add mod">
          <ac:chgData name="Ewen Trafford" userId="e520b4bf-a196-48b7-bc10-b1590a457daa" providerId="ADAL" clId="{37DD1F2C-1944-4F26-87C2-2064975D45C7}" dt="2022-07-26T15:10:07.969" v="1068" actId="20577"/>
          <ac:spMkLst>
            <pc:docMk/>
            <pc:sldMk cId="231371897" sldId="359"/>
            <ac:spMk id="136" creationId="{DBD45BCF-EF11-4799-96C0-6D34F855DAB3}"/>
          </ac:spMkLst>
        </pc:spChg>
        <pc:spChg chg="add mod">
          <ac:chgData name="Ewen Trafford" userId="e520b4bf-a196-48b7-bc10-b1590a457daa" providerId="ADAL" clId="{37DD1F2C-1944-4F26-87C2-2064975D45C7}" dt="2022-07-26T15:19:49.194" v="1448" actId="1037"/>
          <ac:spMkLst>
            <pc:docMk/>
            <pc:sldMk cId="231371897" sldId="359"/>
            <ac:spMk id="137" creationId="{C8DC89E8-F629-491D-91CE-4023EF55FEE7}"/>
          </ac:spMkLst>
        </pc:spChg>
        <pc:spChg chg="add mod">
          <ac:chgData name="Ewen Trafford" userId="e520b4bf-a196-48b7-bc10-b1590a457daa" providerId="ADAL" clId="{37DD1F2C-1944-4F26-87C2-2064975D45C7}" dt="2022-07-26T15:19:29.075" v="1443" actId="1035"/>
          <ac:spMkLst>
            <pc:docMk/>
            <pc:sldMk cId="231371897" sldId="359"/>
            <ac:spMk id="138" creationId="{AD7F2E6D-ABC9-4C14-8CB2-B90F81AB81EA}"/>
          </ac:spMkLst>
        </pc:spChg>
        <pc:spChg chg="add mod">
          <ac:chgData name="Ewen Trafford" userId="e520b4bf-a196-48b7-bc10-b1590a457daa" providerId="ADAL" clId="{37DD1F2C-1944-4F26-87C2-2064975D45C7}" dt="2022-07-26T15:16:29.419" v="1439" actId="1076"/>
          <ac:spMkLst>
            <pc:docMk/>
            <pc:sldMk cId="231371897" sldId="359"/>
            <ac:spMk id="139" creationId="{9C67B8BC-9B12-4DFD-A074-C1CAED2A6C3D}"/>
          </ac:spMkLst>
        </pc:spChg>
        <pc:spChg chg="add mod">
          <ac:chgData name="Ewen Trafford" userId="e520b4bf-a196-48b7-bc10-b1590a457daa" providerId="ADAL" clId="{37DD1F2C-1944-4F26-87C2-2064975D45C7}" dt="2022-07-26T15:12:17.788" v="1418" actId="14100"/>
          <ac:spMkLst>
            <pc:docMk/>
            <pc:sldMk cId="231371897" sldId="359"/>
            <ac:spMk id="140" creationId="{35E9C7AB-8B81-419D-9240-71B9AFEEC7F3}"/>
          </ac:spMkLst>
        </pc:spChg>
        <pc:grpChg chg="add mod">
          <ac:chgData name="Ewen Trafford" userId="e520b4bf-a196-48b7-bc10-b1590a457daa" providerId="ADAL" clId="{37DD1F2C-1944-4F26-87C2-2064975D45C7}" dt="2022-07-26T14:49:01.629" v="582" actId="164"/>
          <ac:grpSpMkLst>
            <pc:docMk/>
            <pc:sldMk cId="231371897" sldId="359"/>
            <ac:grpSpMk id="21" creationId="{E806DFA7-5941-49AD-8E98-6D04231B0CCA}"/>
          </ac:grpSpMkLst>
        </pc:grpChg>
        <pc:grpChg chg="add mod">
          <ac:chgData name="Ewen Trafford" userId="e520b4bf-a196-48b7-bc10-b1590a457daa" providerId="ADAL" clId="{37DD1F2C-1944-4F26-87C2-2064975D45C7}" dt="2022-07-26T14:49:34.598" v="590" actId="164"/>
          <ac:grpSpMkLst>
            <pc:docMk/>
            <pc:sldMk cId="231371897" sldId="359"/>
            <ac:grpSpMk id="22" creationId="{9CF8BEFA-88C2-43D4-8441-048BD9F84B95}"/>
          </ac:grpSpMkLst>
        </pc:grpChg>
        <pc:grpChg chg="add del mod">
          <ac:chgData name="Ewen Trafford" userId="e520b4bf-a196-48b7-bc10-b1590a457daa" providerId="ADAL" clId="{37DD1F2C-1944-4F26-87C2-2064975D45C7}" dt="2022-07-26T14:49:34.116" v="589"/>
          <ac:grpSpMkLst>
            <pc:docMk/>
            <pc:sldMk cId="231371897" sldId="359"/>
            <ac:grpSpMk id="23" creationId="{246BB743-091F-4E65-BDD4-3313645F8456}"/>
          </ac:grpSpMkLst>
        </pc:grpChg>
        <pc:grpChg chg="add mod">
          <ac:chgData name="Ewen Trafford" userId="e520b4bf-a196-48b7-bc10-b1590a457daa" providerId="ADAL" clId="{37DD1F2C-1944-4F26-87C2-2064975D45C7}" dt="2022-07-26T14:53:57.694" v="635" actId="164"/>
          <ac:grpSpMkLst>
            <pc:docMk/>
            <pc:sldMk cId="231371897" sldId="359"/>
            <ac:grpSpMk id="26" creationId="{0306ED05-7ED8-4003-B3A6-7F796794AF70}"/>
          </ac:grpSpMkLst>
        </pc:grpChg>
        <pc:grpChg chg="add mod">
          <ac:chgData name="Ewen Trafford" userId="e520b4bf-a196-48b7-bc10-b1590a457daa" providerId="ADAL" clId="{37DD1F2C-1944-4F26-87C2-2064975D45C7}" dt="2022-07-26T14:53:57.694" v="635" actId="164"/>
          <ac:grpSpMkLst>
            <pc:docMk/>
            <pc:sldMk cId="231371897" sldId="359"/>
            <ac:grpSpMk id="27" creationId="{EB5FBA24-FCEB-4A14-B179-70C6A7170B4E}"/>
          </ac:grpSpMkLst>
        </pc:grpChg>
        <pc:grpChg chg="add del mod">
          <ac:chgData name="Ewen Trafford" userId="e520b4bf-a196-48b7-bc10-b1590a457daa" providerId="ADAL" clId="{37DD1F2C-1944-4F26-87C2-2064975D45C7}" dt="2022-07-26T14:50:56.353" v="604" actId="478"/>
          <ac:grpSpMkLst>
            <pc:docMk/>
            <pc:sldMk cId="231371897" sldId="359"/>
            <ac:grpSpMk id="34" creationId="{DF662A3F-9E90-4F2B-88EF-025B8B7988E8}"/>
          </ac:grpSpMkLst>
        </pc:grpChg>
        <pc:grpChg chg="add mod">
          <ac:chgData name="Ewen Trafford" userId="e520b4bf-a196-48b7-bc10-b1590a457daa" providerId="ADAL" clId="{37DD1F2C-1944-4F26-87C2-2064975D45C7}" dt="2022-07-26T14:54:05.214" v="637" actId="164"/>
          <ac:grpSpMkLst>
            <pc:docMk/>
            <pc:sldMk cId="231371897" sldId="359"/>
            <ac:grpSpMk id="37" creationId="{50E16435-EE55-4EBB-B88E-7F283A85B0E9}"/>
          </ac:grpSpMkLst>
        </pc:grpChg>
        <pc:grpChg chg="add mod">
          <ac:chgData name="Ewen Trafford" userId="e520b4bf-a196-48b7-bc10-b1590a457daa" providerId="ADAL" clId="{37DD1F2C-1944-4F26-87C2-2064975D45C7}" dt="2022-07-26T14:54:05.214" v="637" actId="164"/>
          <ac:grpSpMkLst>
            <pc:docMk/>
            <pc:sldMk cId="231371897" sldId="359"/>
            <ac:grpSpMk id="48" creationId="{ECDA3973-F965-4D20-ADB8-6E3FCCBFAEB8}"/>
          </ac:grpSpMkLst>
        </pc:grpChg>
        <pc:grpChg chg="add mod">
          <ac:chgData name="Ewen Trafford" userId="e520b4bf-a196-48b7-bc10-b1590a457daa" providerId="ADAL" clId="{37DD1F2C-1944-4F26-87C2-2064975D45C7}" dt="2022-07-26T14:54:02.491" v="636" actId="164"/>
          <ac:grpSpMkLst>
            <pc:docMk/>
            <pc:sldMk cId="231371897" sldId="359"/>
            <ac:grpSpMk id="58" creationId="{137F0072-71C2-4B95-9EED-CBB89952DD11}"/>
          </ac:grpSpMkLst>
        </pc:grpChg>
        <pc:grpChg chg="add del mod">
          <ac:chgData name="Ewen Trafford" userId="e520b4bf-a196-48b7-bc10-b1590a457daa" providerId="ADAL" clId="{37DD1F2C-1944-4F26-87C2-2064975D45C7}" dt="2022-07-26T14:53:27.655" v="628" actId="478"/>
          <ac:grpSpMkLst>
            <pc:docMk/>
            <pc:sldMk cId="231371897" sldId="359"/>
            <ac:grpSpMk id="61" creationId="{CBA68E72-B069-46ED-BA93-2D2F79C15F55}"/>
          </ac:grpSpMkLst>
        </pc:grpChg>
        <pc:grpChg chg="add mod">
          <ac:chgData name="Ewen Trafford" userId="e520b4bf-a196-48b7-bc10-b1590a457daa" providerId="ADAL" clId="{37DD1F2C-1944-4F26-87C2-2064975D45C7}" dt="2022-07-26T15:11:00.558" v="1118" actId="1076"/>
          <ac:grpSpMkLst>
            <pc:docMk/>
            <pc:sldMk cId="231371897" sldId="359"/>
            <ac:grpSpMk id="68" creationId="{FF79542B-1E56-4032-BCB5-7D6819E75744}"/>
          </ac:grpSpMkLst>
        </pc:grpChg>
        <pc:grpChg chg="add mod">
          <ac:chgData name="Ewen Trafford" userId="e520b4bf-a196-48b7-bc10-b1590a457daa" providerId="ADAL" clId="{37DD1F2C-1944-4F26-87C2-2064975D45C7}" dt="2022-07-26T15:11:00.558" v="1118" actId="1076"/>
          <ac:grpSpMkLst>
            <pc:docMk/>
            <pc:sldMk cId="231371897" sldId="359"/>
            <ac:grpSpMk id="69" creationId="{D92B2062-DC69-489E-82BB-7A1BB81D5D3F}"/>
          </ac:grpSpMkLst>
        </pc:grpChg>
        <pc:grpChg chg="add mod">
          <ac:chgData name="Ewen Trafford" userId="e520b4bf-a196-48b7-bc10-b1590a457daa" providerId="ADAL" clId="{37DD1F2C-1944-4F26-87C2-2064975D45C7}" dt="2022-07-26T15:11:00.558" v="1118" actId="1076"/>
          <ac:grpSpMkLst>
            <pc:docMk/>
            <pc:sldMk cId="231371897" sldId="359"/>
            <ac:grpSpMk id="70" creationId="{4B7F187D-9C31-43AF-A7C9-BBA9FE917DD2}"/>
          </ac:grpSpMkLst>
        </pc:grpChg>
        <pc:grpChg chg="add del mod">
          <ac:chgData name="Ewen Trafford" userId="e520b4bf-a196-48b7-bc10-b1590a457daa" providerId="ADAL" clId="{37DD1F2C-1944-4F26-87C2-2064975D45C7}" dt="2022-07-26T14:57:50.091" v="695" actId="165"/>
          <ac:grpSpMkLst>
            <pc:docMk/>
            <pc:sldMk cId="231371897" sldId="359"/>
            <ac:grpSpMk id="83" creationId="{DC1EBF4B-B87D-47E0-B62F-D50B7F91D223}"/>
          </ac:grpSpMkLst>
        </pc:grpChg>
        <pc:grpChg chg="add mod">
          <ac:chgData name="Ewen Trafford" userId="e520b4bf-a196-48b7-bc10-b1590a457daa" providerId="ADAL" clId="{37DD1F2C-1944-4F26-87C2-2064975D45C7}" dt="2022-07-26T15:04:03.764" v="756" actId="164"/>
          <ac:grpSpMkLst>
            <pc:docMk/>
            <pc:sldMk cId="231371897" sldId="359"/>
            <ac:grpSpMk id="84" creationId="{925C6919-CD55-4CE9-95E1-9E1D915FEDAF}"/>
          </ac:grpSpMkLst>
        </pc:grpChg>
        <pc:grpChg chg="add del mod">
          <ac:chgData name="Ewen Trafford" userId="e520b4bf-a196-48b7-bc10-b1590a457daa" providerId="ADAL" clId="{37DD1F2C-1944-4F26-87C2-2064975D45C7}" dt="2022-07-26T14:59:27.207" v="710" actId="478"/>
          <ac:grpSpMkLst>
            <pc:docMk/>
            <pc:sldMk cId="231371897" sldId="359"/>
            <ac:grpSpMk id="88" creationId="{0798960B-5D7A-4C39-9444-0FEE1E2DC86E}"/>
          </ac:grpSpMkLst>
        </pc:grpChg>
        <pc:grpChg chg="add del mod">
          <ac:chgData name="Ewen Trafford" userId="e520b4bf-a196-48b7-bc10-b1590a457daa" providerId="ADAL" clId="{37DD1F2C-1944-4F26-87C2-2064975D45C7}" dt="2022-07-26T14:59:28.937" v="711" actId="478"/>
          <ac:grpSpMkLst>
            <pc:docMk/>
            <pc:sldMk cId="231371897" sldId="359"/>
            <ac:grpSpMk id="94" creationId="{1BED9AE7-D873-4B67-AEBA-1248508C91CF}"/>
          </ac:grpSpMkLst>
        </pc:grpChg>
        <pc:grpChg chg="add del mod">
          <ac:chgData name="Ewen Trafford" userId="e520b4bf-a196-48b7-bc10-b1590a457daa" providerId="ADAL" clId="{37DD1F2C-1944-4F26-87C2-2064975D45C7}" dt="2022-07-26T14:59:30.317" v="712" actId="478"/>
          <ac:grpSpMkLst>
            <pc:docMk/>
            <pc:sldMk cId="231371897" sldId="359"/>
            <ac:grpSpMk id="100" creationId="{7D0DFB69-183D-4BC0-8069-F7834793B632}"/>
          </ac:grpSpMkLst>
        </pc:grpChg>
        <pc:grpChg chg="add del mod">
          <ac:chgData name="Ewen Trafford" userId="e520b4bf-a196-48b7-bc10-b1590a457daa" providerId="ADAL" clId="{37DD1F2C-1944-4F26-87C2-2064975D45C7}" dt="2022-07-26T14:59:32.106" v="713" actId="478"/>
          <ac:grpSpMkLst>
            <pc:docMk/>
            <pc:sldMk cId="231371897" sldId="359"/>
            <ac:grpSpMk id="106" creationId="{5D2CB814-5070-46EC-87DB-64B9E8A6F5EE}"/>
          </ac:grpSpMkLst>
        </pc:grpChg>
        <pc:grpChg chg="add mod">
          <ac:chgData name="Ewen Trafford" userId="e520b4bf-a196-48b7-bc10-b1590a457daa" providerId="ADAL" clId="{37DD1F2C-1944-4F26-87C2-2064975D45C7}" dt="2022-07-26T15:03:51.399" v="755" actId="164"/>
          <ac:grpSpMkLst>
            <pc:docMk/>
            <pc:sldMk cId="231371897" sldId="359"/>
            <ac:grpSpMk id="109" creationId="{FB9B3D94-A14F-48B6-A292-FDC29440668C}"/>
          </ac:grpSpMkLst>
        </pc:grpChg>
        <pc:grpChg chg="add del mod">
          <ac:chgData name="Ewen Trafford" userId="e520b4bf-a196-48b7-bc10-b1590a457daa" providerId="ADAL" clId="{37DD1F2C-1944-4F26-87C2-2064975D45C7}" dt="2022-07-26T15:02:32.432" v="740" actId="165"/>
          <ac:grpSpMkLst>
            <pc:docMk/>
            <pc:sldMk cId="231371897" sldId="359"/>
            <ac:grpSpMk id="123" creationId="{7808053E-71A2-47C9-BB43-65E48E11C123}"/>
          </ac:grpSpMkLst>
        </pc:grpChg>
        <pc:grpChg chg="add mod">
          <ac:chgData name="Ewen Trafford" userId="e520b4bf-a196-48b7-bc10-b1590a457daa" providerId="ADAL" clId="{37DD1F2C-1944-4F26-87C2-2064975D45C7}" dt="2022-07-26T15:03:39.636" v="752" actId="164"/>
          <ac:grpSpMkLst>
            <pc:docMk/>
            <pc:sldMk cId="231371897" sldId="359"/>
            <ac:grpSpMk id="126" creationId="{5423242B-AF62-42E5-B098-B2343B5F8E6E}"/>
          </ac:grpSpMkLst>
        </pc:grpChg>
        <pc:grpChg chg="add mod">
          <ac:chgData name="Ewen Trafford" userId="e520b4bf-a196-48b7-bc10-b1590a457daa" providerId="ADAL" clId="{37DD1F2C-1944-4F26-87C2-2064975D45C7}" dt="2022-07-26T15:09:33.795" v="983" actId="1076"/>
          <ac:grpSpMkLst>
            <pc:docMk/>
            <pc:sldMk cId="231371897" sldId="359"/>
            <ac:grpSpMk id="127" creationId="{91694AD9-08D8-40BE-BCFC-1411741A7BDF}"/>
          </ac:grpSpMkLst>
        </pc:grpChg>
        <pc:grpChg chg="add mod">
          <ac:chgData name="Ewen Trafford" userId="e520b4bf-a196-48b7-bc10-b1590a457daa" providerId="ADAL" clId="{37DD1F2C-1944-4F26-87C2-2064975D45C7}" dt="2022-07-26T15:19:49.194" v="1448" actId="1037"/>
          <ac:grpSpMkLst>
            <pc:docMk/>
            <pc:sldMk cId="231371897" sldId="359"/>
            <ac:grpSpMk id="128" creationId="{71F0DA74-E8FD-445A-B6E9-DF20F45FD776}"/>
          </ac:grpSpMkLst>
        </pc:grpChg>
        <pc:grpChg chg="add mod">
          <ac:chgData name="Ewen Trafford" userId="e520b4bf-a196-48b7-bc10-b1590a457daa" providerId="ADAL" clId="{37DD1F2C-1944-4F26-87C2-2064975D45C7}" dt="2022-07-26T15:19:29.075" v="1443" actId="1035"/>
          <ac:grpSpMkLst>
            <pc:docMk/>
            <pc:sldMk cId="231371897" sldId="359"/>
            <ac:grpSpMk id="129" creationId="{FACC789C-D04F-4418-833B-06ED3F12EDF3}"/>
          </ac:grpSpMkLst>
        </pc:grpChg>
        <pc:grpChg chg="add mod">
          <ac:chgData name="Ewen Trafford" userId="e520b4bf-a196-48b7-bc10-b1590a457daa" providerId="ADAL" clId="{37DD1F2C-1944-4F26-87C2-2064975D45C7}" dt="2022-07-26T15:16:29.419" v="1439" actId="1076"/>
          <ac:grpSpMkLst>
            <pc:docMk/>
            <pc:sldMk cId="231371897" sldId="359"/>
            <ac:grpSpMk id="130" creationId="{EB12B053-9695-4784-8A7C-B2E66EFABF8B}"/>
          </ac:grpSpMkLst>
        </pc:grpChg>
        <pc:grpChg chg="add mod">
          <ac:chgData name="Ewen Trafford" userId="e520b4bf-a196-48b7-bc10-b1590a457daa" providerId="ADAL" clId="{37DD1F2C-1944-4F26-87C2-2064975D45C7}" dt="2022-07-26T15:19:42.914" v="1446" actId="1037"/>
          <ac:grpSpMkLst>
            <pc:docMk/>
            <pc:sldMk cId="231371897" sldId="359"/>
            <ac:grpSpMk id="131" creationId="{1C79A926-057C-4734-B88E-20E0E32CE117}"/>
          </ac:grpSpMkLst>
        </pc:grpChg>
        <pc:cxnChg chg="add mod ord">
          <ac:chgData name="Ewen Trafford" userId="e520b4bf-a196-48b7-bc10-b1590a457daa" providerId="ADAL" clId="{37DD1F2C-1944-4F26-87C2-2064975D45C7}" dt="2022-07-26T14:53:57.694" v="635" actId="164"/>
          <ac:cxnSpMkLst>
            <pc:docMk/>
            <pc:sldMk cId="231371897" sldId="359"/>
            <ac:cxnSpMk id="8" creationId="{EB980C21-0C5D-42D3-9CBF-FB15B885E6CD}"/>
          </ac:cxnSpMkLst>
        </pc:cxnChg>
        <pc:cxnChg chg="add mod ord">
          <ac:chgData name="Ewen Trafford" userId="e520b4bf-a196-48b7-bc10-b1590a457daa" providerId="ADAL" clId="{37DD1F2C-1944-4F26-87C2-2064975D45C7}" dt="2022-07-26T14:53:57.694" v="635" actId="164"/>
          <ac:cxnSpMkLst>
            <pc:docMk/>
            <pc:sldMk cId="231371897" sldId="359"/>
            <ac:cxnSpMk id="9" creationId="{93D32E6C-270E-45E6-BA40-54258A66C5C3}"/>
          </ac:cxnSpMkLst>
        </pc:cxnChg>
        <pc:cxnChg chg="add mod ord">
          <ac:chgData name="Ewen Trafford" userId="e520b4bf-a196-48b7-bc10-b1590a457daa" providerId="ADAL" clId="{37DD1F2C-1944-4F26-87C2-2064975D45C7}" dt="2022-07-26T14:53:57.694" v="635" actId="164"/>
          <ac:cxnSpMkLst>
            <pc:docMk/>
            <pc:sldMk cId="231371897" sldId="359"/>
            <ac:cxnSpMk id="10" creationId="{EBF20145-2C20-46E5-8ED2-A0DD9301A2A1}"/>
          </ac:cxnSpMkLst>
        </pc:cxnChg>
        <pc:cxnChg chg="add mod">
          <ac:chgData name="Ewen Trafford" userId="e520b4bf-a196-48b7-bc10-b1590a457daa" providerId="ADAL" clId="{37DD1F2C-1944-4F26-87C2-2064975D45C7}" dt="2022-07-26T14:48:31.519" v="577" actId="571"/>
          <ac:cxnSpMkLst>
            <pc:docMk/>
            <pc:sldMk cId="231371897" sldId="359"/>
            <ac:cxnSpMk id="18" creationId="{8ABAD940-1F94-4BF0-8E5B-72319C702ECC}"/>
          </ac:cxnSpMkLst>
        </pc:cxnChg>
        <pc:cxnChg chg="add mod">
          <ac:chgData name="Ewen Trafford" userId="e520b4bf-a196-48b7-bc10-b1590a457daa" providerId="ADAL" clId="{37DD1F2C-1944-4F26-87C2-2064975D45C7}" dt="2022-07-26T14:48:31.519" v="577" actId="571"/>
          <ac:cxnSpMkLst>
            <pc:docMk/>
            <pc:sldMk cId="231371897" sldId="359"/>
            <ac:cxnSpMk id="19" creationId="{38B326DC-D2D5-4AFA-913A-E1BD39F749B1}"/>
          </ac:cxnSpMkLst>
        </pc:cxnChg>
        <pc:cxnChg chg="add mod">
          <ac:chgData name="Ewen Trafford" userId="e520b4bf-a196-48b7-bc10-b1590a457daa" providerId="ADAL" clId="{37DD1F2C-1944-4F26-87C2-2064975D45C7}" dt="2022-07-26T14:48:31.519" v="577" actId="571"/>
          <ac:cxnSpMkLst>
            <pc:docMk/>
            <pc:sldMk cId="231371897" sldId="359"/>
            <ac:cxnSpMk id="20" creationId="{BA70E9EC-DA20-4CB2-846E-7F46FAE6142A}"/>
          </ac:cxnSpMkLst>
        </pc:cxnChg>
        <pc:cxnChg chg="add mod">
          <ac:chgData name="Ewen Trafford" userId="e520b4bf-a196-48b7-bc10-b1590a457daa" providerId="ADAL" clId="{37DD1F2C-1944-4F26-87C2-2064975D45C7}" dt="2022-07-26T14:54:05.214" v="637" actId="164"/>
          <ac:cxnSpMkLst>
            <pc:docMk/>
            <pc:sldMk cId="231371897" sldId="359"/>
            <ac:cxnSpMk id="31" creationId="{E5AD4DC4-7532-4AFD-84D2-5F28BA52E76B}"/>
          </ac:cxnSpMkLst>
        </pc:cxnChg>
        <pc:cxnChg chg="add mod">
          <ac:chgData name="Ewen Trafford" userId="e520b4bf-a196-48b7-bc10-b1590a457daa" providerId="ADAL" clId="{37DD1F2C-1944-4F26-87C2-2064975D45C7}" dt="2022-07-26T14:54:05.214" v="637" actId="164"/>
          <ac:cxnSpMkLst>
            <pc:docMk/>
            <pc:sldMk cId="231371897" sldId="359"/>
            <ac:cxnSpMk id="32" creationId="{254B00D5-610A-4DF3-97A6-B0C79DD2E03E}"/>
          </ac:cxnSpMkLst>
        </pc:cxnChg>
        <pc:cxnChg chg="add mod">
          <ac:chgData name="Ewen Trafford" userId="e520b4bf-a196-48b7-bc10-b1590a457daa" providerId="ADAL" clId="{37DD1F2C-1944-4F26-87C2-2064975D45C7}" dt="2022-07-26T14:54:05.214" v="637" actId="164"/>
          <ac:cxnSpMkLst>
            <pc:docMk/>
            <pc:sldMk cId="231371897" sldId="359"/>
            <ac:cxnSpMk id="33" creationId="{3F2A4CEF-7DA7-495D-A9BF-6FD58F13FDBB}"/>
          </ac:cxnSpMkLst>
        </pc:cxnChg>
        <pc:cxnChg chg="add del mod">
          <ac:chgData name="Ewen Trafford" userId="e520b4bf-a196-48b7-bc10-b1590a457daa" providerId="ADAL" clId="{37DD1F2C-1944-4F26-87C2-2064975D45C7}" dt="2022-07-26T14:51:18.377" v="608"/>
          <ac:cxnSpMkLst>
            <pc:docMk/>
            <pc:sldMk cId="231371897" sldId="359"/>
            <ac:cxnSpMk id="40" creationId="{8955C174-B2F2-4301-AF96-4ECDD626CF71}"/>
          </ac:cxnSpMkLst>
        </pc:cxnChg>
        <pc:cxnChg chg="add del mod">
          <ac:chgData name="Ewen Trafford" userId="e520b4bf-a196-48b7-bc10-b1590a457daa" providerId="ADAL" clId="{37DD1F2C-1944-4F26-87C2-2064975D45C7}" dt="2022-07-26T14:51:18.377" v="608"/>
          <ac:cxnSpMkLst>
            <pc:docMk/>
            <pc:sldMk cId="231371897" sldId="359"/>
            <ac:cxnSpMk id="42" creationId="{70187290-7868-4C75-9FE2-CE984C7BBED9}"/>
          </ac:cxnSpMkLst>
        </pc:cxnChg>
        <pc:cxnChg chg="add mod">
          <ac:chgData name="Ewen Trafford" userId="e520b4bf-a196-48b7-bc10-b1590a457daa" providerId="ADAL" clId="{37DD1F2C-1944-4F26-87C2-2064975D45C7}" dt="2022-07-26T14:52:44.694" v="623" actId="1076"/>
          <ac:cxnSpMkLst>
            <pc:docMk/>
            <pc:sldMk cId="231371897" sldId="359"/>
            <ac:cxnSpMk id="44" creationId="{A781A061-2EF3-4847-A5FA-772D4E0EEDDB}"/>
          </ac:cxnSpMkLst>
        </pc:cxnChg>
        <pc:cxnChg chg="add mod">
          <ac:chgData name="Ewen Trafford" userId="e520b4bf-a196-48b7-bc10-b1590a457daa" providerId="ADAL" clId="{37DD1F2C-1944-4F26-87C2-2064975D45C7}" dt="2022-07-26T14:52:37.312" v="622" actId="14100"/>
          <ac:cxnSpMkLst>
            <pc:docMk/>
            <pc:sldMk cId="231371897" sldId="359"/>
            <ac:cxnSpMk id="45" creationId="{36798BD1-2046-4FBA-AF61-BCC36BDCB354}"/>
          </ac:cxnSpMkLst>
        </pc:cxnChg>
        <pc:cxnChg chg="add mod">
          <ac:chgData name="Ewen Trafford" userId="e520b4bf-a196-48b7-bc10-b1590a457daa" providerId="ADAL" clId="{37DD1F2C-1944-4F26-87C2-2064975D45C7}" dt="2022-07-26T14:52:37.312" v="622" actId="14100"/>
          <ac:cxnSpMkLst>
            <pc:docMk/>
            <pc:sldMk cId="231371897" sldId="359"/>
            <ac:cxnSpMk id="46" creationId="{7919EB55-0CF6-4A84-86AA-EB1E3F328169}"/>
          </ac:cxnSpMkLst>
        </pc:cxnChg>
        <pc:cxnChg chg="add mod">
          <ac:chgData name="Ewen Trafford" userId="e520b4bf-a196-48b7-bc10-b1590a457daa" providerId="ADAL" clId="{37DD1F2C-1944-4F26-87C2-2064975D45C7}" dt="2022-07-26T14:54:05.214" v="637" actId="164"/>
          <ac:cxnSpMkLst>
            <pc:docMk/>
            <pc:sldMk cId="231371897" sldId="359"/>
            <ac:cxnSpMk id="49" creationId="{9992D3EA-AD0D-464E-8806-235F7495670A}"/>
          </ac:cxnSpMkLst>
        </pc:cxnChg>
        <pc:cxnChg chg="add mod">
          <ac:chgData name="Ewen Trafford" userId="e520b4bf-a196-48b7-bc10-b1590a457daa" providerId="ADAL" clId="{37DD1F2C-1944-4F26-87C2-2064975D45C7}" dt="2022-07-26T14:54:02.491" v="636" actId="164"/>
          <ac:cxnSpMkLst>
            <pc:docMk/>
            <pc:sldMk cId="231371897" sldId="359"/>
            <ac:cxnSpMk id="55" creationId="{9A203EC1-F539-4691-8B9C-B3C6F40F0425}"/>
          </ac:cxnSpMkLst>
        </pc:cxnChg>
        <pc:cxnChg chg="add mod">
          <ac:chgData name="Ewen Trafford" userId="e520b4bf-a196-48b7-bc10-b1590a457daa" providerId="ADAL" clId="{37DD1F2C-1944-4F26-87C2-2064975D45C7}" dt="2022-07-26T14:54:02.491" v="636" actId="164"/>
          <ac:cxnSpMkLst>
            <pc:docMk/>
            <pc:sldMk cId="231371897" sldId="359"/>
            <ac:cxnSpMk id="56" creationId="{1A18CB9D-9B2C-492F-82AA-9C909064C3D9}"/>
          </ac:cxnSpMkLst>
        </pc:cxnChg>
        <pc:cxnChg chg="add mod">
          <ac:chgData name="Ewen Trafford" userId="e520b4bf-a196-48b7-bc10-b1590a457daa" providerId="ADAL" clId="{37DD1F2C-1944-4F26-87C2-2064975D45C7}" dt="2022-07-26T14:54:02.491" v="636" actId="164"/>
          <ac:cxnSpMkLst>
            <pc:docMk/>
            <pc:sldMk cId="231371897" sldId="359"/>
            <ac:cxnSpMk id="57" creationId="{AD5D7905-8ED8-498E-9C81-257354A17F89}"/>
          </ac:cxnSpMkLst>
        </pc:cxnChg>
        <pc:cxnChg chg="mod">
          <ac:chgData name="Ewen Trafford" userId="e520b4bf-a196-48b7-bc10-b1590a457daa" providerId="ADAL" clId="{37DD1F2C-1944-4F26-87C2-2064975D45C7}" dt="2022-07-26T14:53:18.125" v="626"/>
          <ac:cxnSpMkLst>
            <pc:docMk/>
            <pc:sldMk cId="231371897" sldId="359"/>
            <ac:cxnSpMk id="62" creationId="{86B02D5C-C257-49A0-8AA8-AC5E00FEE480}"/>
          </ac:cxnSpMkLst>
        </pc:cxnChg>
        <pc:cxnChg chg="mod">
          <ac:chgData name="Ewen Trafford" userId="e520b4bf-a196-48b7-bc10-b1590a457daa" providerId="ADAL" clId="{37DD1F2C-1944-4F26-87C2-2064975D45C7}" dt="2022-07-26T14:53:18.125" v="626"/>
          <ac:cxnSpMkLst>
            <pc:docMk/>
            <pc:sldMk cId="231371897" sldId="359"/>
            <ac:cxnSpMk id="63" creationId="{39AFA67C-9678-4311-A0EA-F45410F4F7F4}"/>
          </ac:cxnSpMkLst>
        </pc:cxnChg>
        <pc:cxnChg chg="mod">
          <ac:chgData name="Ewen Trafford" userId="e520b4bf-a196-48b7-bc10-b1590a457daa" providerId="ADAL" clId="{37DD1F2C-1944-4F26-87C2-2064975D45C7}" dt="2022-07-26T14:53:18.125" v="626"/>
          <ac:cxnSpMkLst>
            <pc:docMk/>
            <pc:sldMk cId="231371897" sldId="359"/>
            <ac:cxnSpMk id="64" creationId="{D9F85B9C-869A-4392-AC3C-7A63C6DA2FFB}"/>
          </ac:cxnSpMkLst>
        </pc:cxnChg>
        <pc:cxnChg chg="add mod">
          <ac:chgData name="Ewen Trafford" userId="e520b4bf-a196-48b7-bc10-b1590a457daa" providerId="ADAL" clId="{37DD1F2C-1944-4F26-87C2-2064975D45C7}" dt="2022-07-26T14:54:02.491" v="636" actId="164"/>
          <ac:cxnSpMkLst>
            <pc:docMk/>
            <pc:sldMk cId="231371897" sldId="359"/>
            <ac:cxnSpMk id="66" creationId="{5979A02E-1443-4274-A59E-7276AA41F2DC}"/>
          </ac:cxnSpMkLst>
        </pc:cxnChg>
        <pc:cxnChg chg="add mod">
          <ac:chgData name="Ewen Trafford" userId="e520b4bf-a196-48b7-bc10-b1590a457daa" providerId="ADAL" clId="{37DD1F2C-1944-4F26-87C2-2064975D45C7}" dt="2022-07-26T15:04:03.764" v="756" actId="164"/>
          <ac:cxnSpMkLst>
            <pc:docMk/>
            <pc:sldMk cId="231371897" sldId="359"/>
            <ac:cxnSpMk id="72" creationId="{42F83D22-669B-4D73-964B-141395240B1F}"/>
          </ac:cxnSpMkLst>
        </pc:cxnChg>
        <pc:cxnChg chg="add mod">
          <ac:chgData name="Ewen Trafford" userId="e520b4bf-a196-48b7-bc10-b1590a457daa" providerId="ADAL" clId="{37DD1F2C-1944-4F26-87C2-2064975D45C7}" dt="2022-07-26T15:04:03.764" v="756" actId="164"/>
          <ac:cxnSpMkLst>
            <pc:docMk/>
            <pc:sldMk cId="231371897" sldId="359"/>
            <ac:cxnSpMk id="75" creationId="{26270888-4B55-4D96-B7AE-E12E592576B6}"/>
          </ac:cxnSpMkLst>
        </pc:cxnChg>
        <pc:cxnChg chg="add del mod">
          <ac:chgData name="Ewen Trafford" userId="e520b4bf-a196-48b7-bc10-b1590a457daa" providerId="ADAL" clId="{37DD1F2C-1944-4F26-87C2-2064975D45C7}" dt="2022-07-26T15:00:26.286" v="717" actId="478"/>
          <ac:cxnSpMkLst>
            <pc:docMk/>
            <pc:sldMk cId="231371897" sldId="359"/>
            <ac:cxnSpMk id="86" creationId="{B27D75A8-1294-4E5C-A687-8876CF7499F8}"/>
          </ac:cxnSpMkLst>
        </pc:cxnChg>
        <pc:cxnChg chg="add mod">
          <ac:chgData name="Ewen Trafford" userId="e520b4bf-a196-48b7-bc10-b1590a457daa" providerId="ADAL" clId="{37DD1F2C-1944-4F26-87C2-2064975D45C7}" dt="2022-07-26T15:03:39.636" v="752" actId="164"/>
          <ac:cxnSpMkLst>
            <pc:docMk/>
            <pc:sldMk cId="231371897" sldId="359"/>
            <ac:cxnSpMk id="87" creationId="{D2DB129E-1224-46CD-A49C-2FB9DCE917A2}"/>
          </ac:cxnSpMkLst>
        </pc:cxnChg>
        <pc:cxnChg chg="add mod">
          <ac:chgData name="Ewen Trafford" userId="e520b4bf-a196-48b7-bc10-b1590a457daa" providerId="ADAL" clId="{37DD1F2C-1944-4F26-87C2-2064975D45C7}" dt="2022-07-26T15:03:42.795" v="753" actId="164"/>
          <ac:cxnSpMkLst>
            <pc:docMk/>
            <pc:sldMk cId="231371897" sldId="359"/>
            <ac:cxnSpMk id="92" creationId="{46409261-B41C-4C3C-8EEA-FC16981C64E7}"/>
          </ac:cxnSpMkLst>
        </pc:cxnChg>
        <pc:cxnChg chg="add mod">
          <ac:chgData name="Ewen Trafford" userId="e520b4bf-a196-48b7-bc10-b1590a457daa" providerId="ADAL" clId="{37DD1F2C-1944-4F26-87C2-2064975D45C7}" dt="2022-07-26T15:03:42.795" v="753" actId="164"/>
          <ac:cxnSpMkLst>
            <pc:docMk/>
            <pc:sldMk cId="231371897" sldId="359"/>
            <ac:cxnSpMk id="93" creationId="{5AD47425-968E-40A8-B384-F7250B7A7DFE}"/>
          </ac:cxnSpMkLst>
        </pc:cxnChg>
        <pc:cxnChg chg="add mod">
          <ac:chgData name="Ewen Trafford" userId="e520b4bf-a196-48b7-bc10-b1590a457daa" providerId="ADAL" clId="{37DD1F2C-1944-4F26-87C2-2064975D45C7}" dt="2022-07-26T15:03:45.724" v="754" actId="164"/>
          <ac:cxnSpMkLst>
            <pc:docMk/>
            <pc:sldMk cId="231371897" sldId="359"/>
            <ac:cxnSpMk id="98" creationId="{2E51F132-6D00-41E7-B805-86D49E8BCC97}"/>
          </ac:cxnSpMkLst>
        </pc:cxnChg>
        <pc:cxnChg chg="add mod">
          <ac:chgData name="Ewen Trafford" userId="e520b4bf-a196-48b7-bc10-b1590a457daa" providerId="ADAL" clId="{37DD1F2C-1944-4F26-87C2-2064975D45C7}" dt="2022-07-26T15:03:45.724" v="754" actId="164"/>
          <ac:cxnSpMkLst>
            <pc:docMk/>
            <pc:sldMk cId="231371897" sldId="359"/>
            <ac:cxnSpMk id="99" creationId="{E9A8B4E9-CD98-4F97-9913-0688DFA12FC6}"/>
          </ac:cxnSpMkLst>
        </pc:cxnChg>
        <pc:cxnChg chg="add mod">
          <ac:chgData name="Ewen Trafford" userId="e520b4bf-a196-48b7-bc10-b1590a457daa" providerId="ADAL" clId="{37DD1F2C-1944-4F26-87C2-2064975D45C7}" dt="2022-07-26T14:59:47.452" v="714" actId="164"/>
          <ac:cxnSpMkLst>
            <pc:docMk/>
            <pc:sldMk cId="231371897" sldId="359"/>
            <ac:cxnSpMk id="104" creationId="{4B5D210E-87D1-4226-8484-3621DBA6DB2C}"/>
          </ac:cxnSpMkLst>
        </pc:cxnChg>
        <pc:cxnChg chg="add mod">
          <ac:chgData name="Ewen Trafford" userId="e520b4bf-a196-48b7-bc10-b1590a457daa" providerId="ADAL" clId="{37DD1F2C-1944-4F26-87C2-2064975D45C7}" dt="2022-07-26T14:59:47.452" v="714" actId="164"/>
          <ac:cxnSpMkLst>
            <pc:docMk/>
            <pc:sldMk cId="231371897" sldId="359"/>
            <ac:cxnSpMk id="105" creationId="{59282283-1041-451A-8E33-6A268C20DE1A}"/>
          </ac:cxnSpMkLst>
        </pc:cxnChg>
        <pc:cxnChg chg="add mod topLvl">
          <ac:chgData name="Ewen Trafford" userId="e520b4bf-a196-48b7-bc10-b1590a457daa" providerId="ADAL" clId="{37DD1F2C-1944-4F26-87C2-2064975D45C7}" dt="2022-07-26T15:20:17.903" v="1450" actId="1582"/>
          <ac:cxnSpMkLst>
            <pc:docMk/>
            <pc:sldMk cId="231371897" sldId="359"/>
            <ac:cxnSpMk id="120" creationId="{503A0821-BACC-4AB6-BED4-D398EE5C8435}"/>
          </ac:cxnSpMkLst>
        </pc:cxnChg>
        <pc:cxnChg chg="add mod topLvl">
          <ac:chgData name="Ewen Trafford" userId="e520b4bf-a196-48b7-bc10-b1590a457daa" providerId="ADAL" clId="{37DD1F2C-1944-4F26-87C2-2064975D45C7}" dt="2022-07-26T15:20:17.903" v="1450" actId="1582"/>
          <ac:cxnSpMkLst>
            <pc:docMk/>
            <pc:sldMk cId="231371897" sldId="359"/>
            <ac:cxnSpMk id="121" creationId="{71D093B6-F546-4828-989B-8AE35507E91C}"/>
          </ac:cxnSpMkLst>
        </pc:cxnChg>
      </pc:sldChg>
      <pc:sldChg chg="delSp modSp add mod">
        <pc:chgData name="Ewen Trafford" userId="e520b4bf-a196-48b7-bc10-b1590a457daa" providerId="ADAL" clId="{37DD1F2C-1944-4F26-87C2-2064975D45C7}" dt="2022-07-26T15:25:56.364" v="1905" actId="478"/>
        <pc:sldMkLst>
          <pc:docMk/>
          <pc:sldMk cId="2190163262" sldId="360"/>
        </pc:sldMkLst>
        <pc:spChg chg="mod">
          <ac:chgData name="Ewen Trafford" userId="e520b4bf-a196-48b7-bc10-b1590a457daa" providerId="ADAL" clId="{37DD1F2C-1944-4F26-87C2-2064975D45C7}" dt="2022-07-26T15:25:24.614" v="1858" actId="20577"/>
          <ac:spMkLst>
            <pc:docMk/>
            <pc:sldMk cId="2190163262" sldId="360"/>
            <ac:spMk id="2" creationId="{C0656FD1-4489-F55F-822B-620888FD55A9}"/>
          </ac:spMkLst>
        </pc:spChg>
        <pc:spChg chg="mod">
          <ac:chgData name="Ewen Trafford" userId="e520b4bf-a196-48b7-bc10-b1590a457daa" providerId="ADAL" clId="{37DD1F2C-1944-4F26-87C2-2064975D45C7}" dt="2022-07-26T15:25:51.234" v="1904" actId="20577"/>
          <ac:spMkLst>
            <pc:docMk/>
            <pc:sldMk cId="2190163262" sldId="360"/>
            <ac:spMk id="6" creationId="{37F21B2D-0E3B-42DC-85A8-4511EB39D461}"/>
          </ac:spMkLst>
        </pc:spChg>
        <pc:picChg chg="del">
          <ac:chgData name="Ewen Trafford" userId="e520b4bf-a196-48b7-bc10-b1590a457daa" providerId="ADAL" clId="{37DD1F2C-1944-4F26-87C2-2064975D45C7}" dt="2022-07-26T15:25:56.364" v="1905" actId="478"/>
          <ac:picMkLst>
            <pc:docMk/>
            <pc:sldMk cId="2190163262" sldId="360"/>
            <ac:picMk id="5" creationId="{617188A8-D3F8-46D2-906F-1CAEEFCE3417}"/>
          </ac:picMkLst>
        </pc:picChg>
      </pc:sldChg>
      <pc:sldChg chg="delSp modSp add mod delCm modCm">
        <pc:chgData name="Ewen Trafford" userId="e520b4bf-a196-48b7-bc10-b1590a457daa" providerId="ADAL" clId="{37DD1F2C-1944-4F26-87C2-2064975D45C7}" dt="2022-08-03T08:50:12.671" v="3525" actId="20577"/>
        <pc:sldMkLst>
          <pc:docMk/>
          <pc:sldMk cId="3959102856" sldId="361"/>
        </pc:sldMkLst>
        <pc:spChg chg="mod">
          <ac:chgData name="Ewen Trafford" userId="e520b4bf-a196-48b7-bc10-b1590a457daa" providerId="ADAL" clId="{37DD1F2C-1944-4F26-87C2-2064975D45C7}" dt="2022-08-03T08:40:14.439" v="2846" actId="20577"/>
          <ac:spMkLst>
            <pc:docMk/>
            <pc:sldMk cId="3959102856" sldId="361"/>
            <ac:spMk id="2" creationId="{C0656FD1-4489-F55F-822B-620888FD55A9}"/>
          </ac:spMkLst>
        </pc:spChg>
        <pc:spChg chg="mod">
          <ac:chgData name="Ewen Trafford" userId="e520b4bf-a196-48b7-bc10-b1590a457daa" providerId="ADAL" clId="{37DD1F2C-1944-4F26-87C2-2064975D45C7}" dt="2022-08-03T08:50:12.671" v="3525" actId="20577"/>
          <ac:spMkLst>
            <pc:docMk/>
            <pc:sldMk cId="3959102856" sldId="361"/>
            <ac:spMk id="6" creationId="{37F21B2D-0E3B-42DC-85A8-4511EB39D461}"/>
          </ac:spMkLst>
        </pc:spChg>
        <pc:spChg chg="del">
          <ac:chgData name="Ewen Trafford" userId="e520b4bf-a196-48b7-bc10-b1590a457daa" providerId="ADAL" clId="{37DD1F2C-1944-4F26-87C2-2064975D45C7}" dt="2022-08-03T08:40:08.327" v="2834" actId="478"/>
          <ac:spMkLst>
            <pc:docMk/>
            <pc:sldMk cId="3959102856" sldId="361"/>
            <ac:spMk id="63" creationId="{CC9E04A9-37ED-4519-ACFC-7A87A4B6986A}"/>
          </ac:spMkLst>
        </pc:spChg>
        <pc:spChg chg="del">
          <ac:chgData name="Ewen Trafford" userId="e520b4bf-a196-48b7-bc10-b1590a457daa" providerId="ADAL" clId="{37DD1F2C-1944-4F26-87C2-2064975D45C7}" dt="2022-08-03T08:40:08.327" v="2834" actId="478"/>
          <ac:spMkLst>
            <pc:docMk/>
            <pc:sldMk cId="3959102856" sldId="361"/>
            <ac:spMk id="71" creationId="{68118319-9A0B-4C66-8534-6EEBCD4F1EB8}"/>
          </ac:spMkLst>
        </pc:spChg>
        <pc:spChg chg="del">
          <ac:chgData name="Ewen Trafford" userId="e520b4bf-a196-48b7-bc10-b1590a457daa" providerId="ADAL" clId="{37DD1F2C-1944-4F26-87C2-2064975D45C7}" dt="2022-08-03T08:40:08.327" v="2834" actId="478"/>
          <ac:spMkLst>
            <pc:docMk/>
            <pc:sldMk cId="3959102856" sldId="361"/>
            <ac:spMk id="88" creationId="{D7410CFE-6D4A-4526-B593-1F477DAD2AB1}"/>
          </ac:spMkLst>
        </pc:spChg>
        <pc:spChg chg="del">
          <ac:chgData name="Ewen Trafford" userId="e520b4bf-a196-48b7-bc10-b1590a457daa" providerId="ADAL" clId="{37DD1F2C-1944-4F26-87C2-2064975D45C7}" dt="2022-08-03T08:40:08.327" v="2834" actId="478"/>
          <ac:spMkLst>
            <pc:docMk/>
            <pc:sldMk cId="3959102856" sldId="361"/>
            <ac:spMk id="90" creationId="{6B2B75EE-3CDC-44AE-B9B7-1A9B2512E0E0}"/>
          </ac:spMkLst>
        </pc:spChg>
        <pc:spChg chg="del">
          <ac:chgData name="Ewen Trafford" userId="e520b4bf-a196-48b7-bc10-b1590a457daa" providerId="ADAL" clId="{37DD1F2C-1944-4F26-87C2-2064975D45C7}" dt="2022-08-03T08:40:08.327" v="2834" actId="478"/>
          <ac:spMkLst>
            <pc:docMk/>
            <pc:sldMk cId="3959102856" sldId="361"/>
            <ac:spMk id="96" creationId="{54433F2A-694D-4198-8789-8431E9D297FD}"/>
          </ac:spMkLst>
        </pc:spChg>
        <pc:spChg chg="del">
          <ac:chgData name="Ewen Trafford" userId="e520b4bf-a196-48b7-bc10-b1590a457daa" providerId="ADAL" clId="{37DD1F2C-1944-4F26-87C2-2064975D45C7}" dt="2022-08-03T08:40:08.327" v="2834" actId="478"/>
          <ac:spMkLst>
            <pc:docMk/>
            <pc:sldMk cId="3959102856" sldId="361"/>
            <ac:spMk id="101" creationId="{6B55FCB3-52F2-4AD2-8B71-C6B166EF11C7}"/>
          </ac:spMkLst>
        </pc:spChg>
        <pc:spChg chg="del">
          <ac:chgData name="Ewen Trafford" userId="e520b4bf-a196-48b7-bc10-b1590a457daa" providerId="ADAL" clId="{37DD1F2C-1944-4F26-87C2-2064975D45C7}" dt="2022-08-03T08:40:08.327" v="2834" actId="478"/>
          <ac:spMkLst>
            <pc:docMk/>
            <pc:sldMk cId="3959102856" sldId="361"/>
            <ac:spMk id="102" creationId="{C61BE2DF-EB39-4F1F-81D4-EDD0F2680389}"/>
          </ac:spMkLst>
        </pc:spChg>
        <pc:spChg chg="del">
          <ac:chgData name="Ewen Trafford" userId="e520b4bf-a196-48b7-bc10-b1590a457daa" providerId="ADAL" clId="{37DD1F2C-1944-4F26-87C2-2064975D45C7}" dt="2022-08-03T08:40:08.327" v="2834" actId="478"/>
          <ac:spMkLst>
            <pc:docMk/>
            <pc:sldMk cId="3959102856" sldId="361"/>
            <ac:spMk id="104" creationId="{D9C62645-0C5A-4202-AD0E-C638FCD0F10B}"/>
          </ac:spMkLst>
        </pc:spChg>
        <pc:spChg chg="del">
          <ac:chgData name="Ewen Trafford" userId="e520b4bf-a196-48b7-bc10-b1590a457daa" providerId="ADAL" clId="{37DD1F2C-1944-4F26-87C2-2064975D45C7}" dt="2022-08-03T08:40:08.327" v="2834" actId="478"/>
          <ac:spMkLst>
            <pc:docMk/>
            <pc:sldMk cId="3959102856" sldId="361"/>
            <ac:spMk id="105" creationId="{9012A4A9-5D2A-4D4D-91EE-F0B1B67E57C5}"/>
          </ac:spMkLst>
        </pc:spChg>
        <pc:spChg chg="del">
          <ac:chgData name="Ewen Trafford" userId="e520b4bf-a196-48b7-bc10-b1590a457daa" providerId="ADAL" clId="{37DD1F2C-1944-4F26-87C2-2064975D45C7}" dt="2022-08-03T08:40:08.327" v="2834" actId="478"/>
          <ac:spMkLst>
            <pc:docMk/>
            <pc:sldMk cId="3959102856" sldId="361"/>
            <ac:spMk id="106" creationId="{BD97CE34-7FC9-4B03-95CA-AFE006D6249D}"/>
          </ac:spMkLst>
        </pc:spChg>
        <pc:spChg chg="del">
          <ac:chgData name="Ewen Trafford" userId="e520b4bf-a196-48b7-bc10-b1590a457daa" providerId="ADAL" clId="{37DD1F2C-1944-4F26-87C2-2064975D45C7}" dt="2022-08-03T08:40:10.621" v="2837" actId="478"/>
          <ac:spMkLst>
            <pc:docMk/>
            <pc:sldMk cId="3959102856" sldId="361"/>
            <ac:spMk id="107" creationId="{D2B6FFB5-822C-47AA-A7DF-5785C59EDC65}"/>
          </ac:spMkLst>
        </pc:spChg>
        <pc:spChg chg="del">
          <ac:chgData name="Ewen Trafford" userId="e520b4bf-a196-48b7-bc10-b1590a457daa" providerId="ADAL" clId="{37DD1F2C-1944-4F26-87C2-2064975D45C7}" dt="2022-08-03T08:40:08.327" v="2834" actId="478"/>
          <ac:spMkLst>
            <pc:docMk/>
            <pc:sldMk cId="3959102856" sldId="361"/>
            <ac:spMk id="108" creationId="{41639989-7C9C-4536-A168-DFC751E35B11}"/>
          </ac:spMkLst>
        </pc:spChg>
        <pc:spChg chg="del">
          <ac:chgData name="Ewen Trafford" userId="e520b4bf-a196-48b7-bc10-b1590a457daa" providerId="ADAL" clId="{37DD1F2C-1944-4F26-87C2-2064975D45C7}" dt="2022-08-03T08:40:08.327" v="2834" actId="478"/>
          <ac:spMkLst>
            <pc:docMk/>
            <pc:sldMk cId="3959102856" sldId="361"/>
            <ac:spMk id="109" creationId="{CC7706B3-299A-4F6F-985F-ECF2BF3FDECF}"/>
          </ac:spMkLst>
        </pc:spChg>
        <pc:spChg chg="del">
          <ac:chgData name="Ewen Trafford" userId="e520b4bf-a196-48b7-bc10-b1590a457daa" providerId="ADAL" clId="{37DD1F2C-1944-4F26-87C2-2064975D45C7}" dt="2022-08-03T08:40:08.984" v="2835" actId="478"/>
          <ac:spMkLst>
            <pc:docMk/>
            <pc:sldMk cId="3959102856" sldId="361"/>
            <ac:spMk id="110" creationId="{14AEF3C6-3F6E-41DF-A28F-1F6BA824F455}"/>
          </ac:spMkLst>
        </pc:spChg>
        <pc:spChg chg="del">
          <ac:chgData name="Ewen Trafford" userId="e520b4bf-a196-48b7-bc10-b1590a457daa" providerId="ADAL" clId="{37DD1F2C-1944-4F26-87C2-2064975D45C7}" dt="2022-08-03T08:40:08.327" v="2834" actId="478"/>
          <ac:spMkLst>
            <pc:docMk/>
            <pc:sldMk cId="3959102856" sldId="361"/>
            <ac:spMk id="111" creationId="{24F62B92-D048-4153-8F7B-4AB785C0BCB3}"/>
          </ac:spMkLst>
        </pc:spChg>
        <pc:spChg chg="del">
          <ac:chgData name="Ewen Trafford" userId="e520b4bf-a196-48b7-bc10-b1590a457daa" providerId="ADAL" clId="{37DD1F2C-1944-4F26-87C2-2064975D45C7}" dt="2022-08-03T08:40:08.327" v="2834" actId="478"/>
          <ac:spMkLst>
            <pc:docMk/>
            <pc:sldMk cId="3959102856" sldId="361"/>
            <ac:spMk id="112" creationId="{B02657C6-AA5B-4A06-8186-F39327461A23}"/>
          </ac:spMkLst>
        </pc:spChg>
        <pc:grpChg chg="del">
          <ac:chgData name="Ewen Trafford" userId="e520b4bf-a196-48b7-bc10-b1590a457daa" providerId="ADAL" clId="{37DD1F2C-1944-4F26-87C2-2064975D45C7}" dt="2022-08-03T08:40:08.327" v="2834" actId="478"/>
          <ac:grpSpMkLst>
            <pc:docMk/>
            <pc:sldMk cId="3959102856" sldId="361"/>
            <ac:grpSpMk id="47" creationId="{82EE047B-EC22-4303-AF4E-6DFA607EBDE3}"/>
          </ac:grpSpMkLst>
        </pc:grpChg>
        <pc:grpChg chg="del">
          <ac:chgData name="Ewen Trafford" userId="e520b4bf-a196-48b7-bc10-b1590a457daa" providerId="ADAL" clId="{37DD1F2C-1944-4F26-87C2-2064975D45C7}" dt="2022-08-03T08:40:09.702" v="2836" actId="478"/>
          <ac:grpSpMkLst>
            <pc:docMk/>
            <pc:sldMk cId="3959102856" sldId="361"/>
            <ac:grpSpMk id="48" creationId="{2F7F192E-FA80-4C3C-ABED-0A10988E2D19}"/>
          </ac:grpSpMkLst>
        </pc:grpChg>
        <pc:grpChg chg="del">
          <ac:chgData name="Ewen Trafford" userId="e520b4bf-a196-48b7-bc10-b1590a457daa" providerId="ADAL" clId="{37DD1F2C-1944-4F26-87C2-2064975D45C7}" dt="2022-08-03T08:40:08.327" v="2834" actId="478"/>
          <ac:grpSpMkLst>
            <pc:docMk/>
            <pc:sldMk cId="3959102856" sldId="361"/>
            <ac:grpSpMk id="73" creationId="{6D460FDE-2493-4CD2-AF0D-CD2C07FAB1D7}"/>
          </ac:grpSpMkLst>
        </pc:grpChg>
        <pc:cxnChg chg="del">
          <ac:chgData name="Ewen Trafford" userId="e520b4bf-a196-48b7-bc10-b1590a457daa" providerId="ADAL" clId="{37DD1F2C-1944-4F26-87C2-2064975D45C7}" dt="2022-08-03T08:40:08.327" v="2834" actId="478"/>
          <ac:cxnSpMkLst>
            <pc:docMk/>
            <pc:sldMk cId="3959102856" sldId="361"/>
            <ac:cxnSpMk id="64" creationId="{6383DCB1-8D6D-4786-96F7-B439942B6029}"/>
          </ac:cxnSpMkLst>
        </pc:cxnChg>
        <pc:cxnChg chg="del">
          <ac:chgData name="Ewen Trafford" userId="e520b4bf-a196-48b7-bc10-b1590a457daa" providerId="ADAL" clId="{37DD1F2C-1944-4F26-87C2-2064975D45C7}" dt="2022-08-03T08:40:08.327" v="2834" actId="478"/>
          <ac:cxnSpMkLst>
            <pc:docMk/>
            <pc:sldMk cId="3959102856" sldId="361"/>
            <ac:cxnSpMk id="89" creationId="{5CF4E1AA-9EAD-4B53-8D37-48C11E9B7B1C}"/>
          </ac:cxnSpMkLst>
        </pc:cxnChg>
        <pc:cxnChg chg="del">
          <ac:chgData name="Ewen Trafford" userId="e520b4bf-a196-48b7-bc10-b1590a457daa" providerId="ADAL" clId="{37DD1F2C-1944-4F26-87C2-2064975D45C7}" dt="2022-08-03T08:40:08.327" v="2834" actId="478"/>
          <ac:cxnSpMkLst>
            <pc:docMk/>
            <pc:sldMk cId="3959102856" sldId="361"/>
            <ac:cxnSpMk id="91" creationId="{6F499A5B-8067-4BC3-88B7-AD804D33E813}"/>
          </ac:cxnSpMkLst>
        </pc:cxnChg>
        <pc:cxnChg chg="del">
          <ac:chgData name="Ewen Trafford" userId="e520b4bf-a196-48b7-bc10-b1590a457daa" providerId="ADAL" clId="{37DD1F2C-1944-4F26-87C2-2064975D45C7}" dt="2022-08-03T08:40:08.327" v="2834" actId="478"/>
          <ac:cxnSpMkLst>
            <pc:docMk/>
            <pc:sldMk cId="3959102856" sldId="361"/>
            <ac:cxnSpMk id="95" creationId="{F917D6B2-2493-4BB4-B2B6-C1F479362986}"/>
          </ac:cxnSpMkLst>
        </pc:cxnChg>
        <pc:cxnChg chg="del">
          <ac:chgData name="Ewen Trafford" userId="e520b4bf-a196-48b7-bc10-b1590a457daa" providerId="ADAL" clId="{37DD1F2C-1944-4F26-87C2-2064975D45C7}" dt="2022-08-03T08:40:08.327" v="2834" actId="478"/>
          <ac:cxnSpMkLst>
            <pc:docMk/>
            <pc:sldMk cId="3959102856" sldId="361"/>
            <ac:cxnSpMk id="99" creationId="{98267B8D-A986-481C-8FA0-7F51EA21F0A2}"/>
          </ac:cxnSpMkLst>
        </pc:cxnChg>
        <pc:cxnChg chg="del">
          <ac:chgData name="Ewen Trafford" userId="e520b4bf-a196-48b7-bc10-b1590a457daa" providerId="ADAL" clId="{37DD1F2C-1944-4F26-87C2-2064975D45C7}" dt="2022-08-03T08:40:08.327" v="2834" actId="478"/>
          <ac:cxnSpMkLst>
            <pc:docMk/>
            <pc:sldMk cId="3959102856" sldId="361"/>
            <ac:cxnSpMk id="100" creationId="{33F2847F-FB4B-4C23-ABF3-134B1B6C31CD}"/>
          </ac:cxnSpMkLst>
        </pc:cxnChg>
      </pc:sldChg>
      <pc:sldChg chg="modSp add mod">
        <pc:chgData name="Ewen Trafford" userId="e520b4bf-a196-48b7-bc10-b1590a457daa" providerId="ADAL" clId="{37DD1F2C-1944-4F26-87C2-2064975D45C7}" dt="2022-08-03T09:04:53.355" v="4105" actId="20577"/>
        <pc:sldMkLst>
          <pc:docMk/>
          <pc:sldMk cId="2231330319" sldId="362"/>
        </pc:sldMkLst>
        <pc:spChg chg="mod">
          <ac:chgData name="Ewen Trafford" userId="e520b4bf-a196-48b7-bc10-b1590a457daa" providerId="ADAL" clId="{37DD1F2C-1944-4F26-87C2-2064975D45C7}" dt="2022-08-03T08:55:26.455" v="3533" actId="20577"/>
          <ac:spMkLst>
            <pc:docMk/>
            <pc:sldMk cId="2231330319" sldId="362"/>
            <ac:spMk id="2" creationId="{C0656FD1-4489-F55F-822B-620888FD55A9}"/>
          </ac:spMkLst>
        </pc:spChg>
        <pc:spChg chg="mod">
          <ac:chgData name="Ewen Trafford" userId="e520b4bf-a196-48b7-bc10-b1590a457daa" providerId="ADAL" clId="{37DD1F2C-1944-4F26-87C2-2064975D45C7}" dt="2022-08-03T09:04:53.355" v="4105" actId="20577"/>
          <ac:spMkLst>
            <pc:docMk/>
            <pc:sldMk cId="2231330319" sldId="362"/>
            <ac:spMk id="6" creationId="{37F21B2D-0E3B-42DC-85A8-4511EB39D461}"/>
          </ac:spMkLst>
        </pc:spChg>
      </pc:sldChg>
      <pc:sldChg chg="delSp modSp add mod delAnim">
        <pc:chgData name="Ewen Trafford" userId="e520b4bf-a196-48b7-bc10-b1590a457daa" providerId="ADAL" clId="{37DD1F2C-1944-4F26-87C2-2064975D45C7}" dt="2022-08-03T09:44:59.535" v="5863" actId="20577"/>
        <pc:sldMkLst>
          <pc:docMk/>
          <pc:sldMk cId="19998368" sldId="363"/>
        </pc:sldMkLst>
        <pc:spChg chg="mod">
          <ac:chgData name="Ewen Trafford" userId="e520b4bf-a196-48b7-bc10-b1590a457daa" providerId="ADAL" clId="{37DD1F2C-1944-4F26-87C2-2064975D45C7}" dt="2022-08-03T09:38:12.294" v="5701" actId="20577"/>
          <ac:spMkLst>
            <pc:docMk/>
            <pc:sldMk cId="19998368" sldId="363"/>
            <ac:spMk id="2" creationId="{8C8F01D9-49FA-6C29-3674-01A422037CD5}"/>
          </ac:spMkLst>
        </pc:spChg>
        <pc:spChg chg="mod">
          <ac:chgData name="Ewen Trafford" userId="e520b4bf-a196-48b7-bc10-b1590a457daa" providerId="ADAL" clId="{37DD1F2C-1944-4F26-87C2-2064975D45C7}" dt="2022-08-03T09:44:59.535" v="5863" actId="20577"/>
          <ac:spMkLst>
            <pc:docMk/>
            <pc:sldMk cId="19998368" sldId="363"/>
            <ac:spMk id="3" creationId="{11F1639A-5BD0-7C4B-622B-50E9B9EA0EE0}"/>
          </ac:spMkLst>
        </pc:spChg>
        <pc:picChg chg="del">
          <ac:chgData name="Ewen Trafford" userId="e520b4bf-a196-48b7-bc10-b1590a457daa" providerId="ADAL" clId="{37DD1F2C-1944-4F26-87C2-2064975D45C7}" dt="2022-08-03T09:38:05.239" v="5686" actId="478"/>
          <ac:picMkLst>
            <pc:docMk/>
            <pc:sldMk cId="19998368" sldId="363"/>
            <ac:picMk id="4" creationId="{E28EFFED-B566-4566-BB7A-487FC7AA9569}"/>
          </ac:picMkLst>
        </pc:picChg>
      </pc:sldChg>
    </pc:docChg>
  </pc:docChgLst>
  <pc:docChgLst>
    <pc:chgData name="Ewen Trafford" userId="e520b4bf-a196-48b7-bc10-b1590a457daa" providerId="ADAL" clId="{FAE4F14E-C27C-4B84-87D7-6E24C646B925}"/>
    <pc:docChg chg="undo custSel addSld delSld modSld sldOrd">
      <pc:chgData name="Ewen Trafford" userId="e520b4bf-a196-48b7-bc10-b1590a457daa" providerId="ADAL" clId="{FAE4F14E-C27C-4B84-87D7-6E24C646B925}" dt="2022-07-20T15:15:13.836" v="5407" actId="20577"/>
      <pc:docMkLst>
        <pc:docMk/>
      </pc:docMkLst>
      <pc:sldChg chg="modSp mod">
        <pc:chgData name="Ewen Trafford" userId="e520b4bf-a196-48b7-bc10-b1590a457daa" providerId="ADAL" clId="{FAE4F14E-C27C-4B84-87D7-6E24C646B925}" dt="2022-07-20T09:22:58.511" v="15" actId="20577"/>
        <pc:sldMkLst>
          <pc:docMk/>
          <pc:sldMk cId="1955166399" sldId="256"/>
        </pc:sldMkLst>
        <pc:spChg chg="mod">
          <ac:chgData name="Ewen Trafford" userId="e520b4bf-a196-48b7-bc10-b1590a457daa" providerId="ADAL" clId="{FAE4F14E-C27C-4B84-87D7-6E24C646B925}" dt="2022-07-20T09:22:58.511" v="15" actId="20577"/>
          <ac:spMkLst>
            <pc:docMk/>
            <pc:sldMk cId="1955166399" sldId="256"/>
            <ac:spMk id="2" creationId="{00000000-0000-0000-0000-000000000000}"/>
          </ac:spMkLst>
        </pc:spChg>
      </pc:sldChg>
      <pc:sldChg chg="modSp mod">
        <pc:chgData name="Ewen Trafford" userId="e520b4bf-a196-48b7-bc10-b1590a457daa" providerId="ADAL" clId="{FAE4F14E-C27C-4B84-87D7-6E24C646B925}" dt="2022-07-20T09:26:22.302" v="135" actId="20577"/>
        <pc:sldMkLst>
          <pc:docMk/>
          <pc:sldMk cId="2302005153" sldId="261"/>
        </pc:sldMkLst>
        <pc:spChg chg="mod">
          <ac:chgData name="Ewen Trafford" userId="e520b4bf-a196-48b7-bc10-b1590a457daa" providerId="ADAL" clId="{FAE4F14E-C27C-4B84-87D7-6E24C646B925}" dt="2022-07-20T09:26:22.302" v="135" actId="20577"/>
          <ac:spMkLst>
            <pc:docMk/>
            <pc:sldMk cId="2302005153" sldId="261"/>
            <ac:spMk id="2" creationId="{00000000-0000-0000-0000-000000000000}"/>
          </ac:spMkLst>
        </pc:spChg>
      </pc:sldChg>
      <pc:sldChg chg="delSp modSp mod">
        <pc:chgData name="Ewen Trafford" userId="e520b4bf-a196-48b7-bc10-b1590a457daa" providerId="ADAL" clId="{FAE4F14E-C27C-4B84-87D7-6E24C646B925}" dt="2022-07-20T15:14:15.737" v="5376" actId="20577"/>
        <pc:sldMkLst>
          <pc:docMk/>
          <pc:sldMk cId="3993973292" sldId="274"/>
        </pc:sldMkLst>
        <pc:spChg chg="mod">
          <ac:chgData name="Ewen Trafford" userId="e520b4bf-a196-48b7-bc10-b1590a457daa" providerId="ADAL" clId="{FAE4F14E-C27C-4B84-87D7-6E24C646B925}" dt="2022-07-20T09:23:55.502" v="59" actId="20577"/>
          <ac:spMkLst>
            <pc:docMk/>
            <pc:sldMk cId="3993973292" sldId="274"/>
            <ac:spMk id="2" creationId="{00000000-0000-0000-0000-000000000000}"/>
          </ac:spMkLst>
        </pc:spChg>
        <pc:spChg chg="del">
          <ac:chgData name="Ewen Trafford" userId="e520b4bf-a196-48b7-bc10-b1590a457daa" providerId="ADAL" clId="{FAE4F14E-C27C-4B84-87D7-6E24C646B925}" dt="2022-07-20T15:08:10.361" v="5080" actId="478"/>
          <ac:spMkLst>
            <pc:docMk/>
            <pc:sldMk cId="3993973292" sldId="274"/>
            <ac:spMk id="4" creationId="{0E2C25B3-6ACC-4992-A8BB-6CAB4A259EA0}"/>
          </ac:spMkLst>
        </pc:spChg>
        <pc:spChg chg="mod">
          <ac:chgData name="Ewen Trafford" userId="e520b4bf-a196-48b7-bc10-b1590a457daa" providerId="ADAL" clId="{FAE4F14E-C27C-4B84-87D7-6E24C646B925}" dt="2022-07-20T15:14:15.737" v="5376" actId="20577"/>
          <ac:spMkLst>
            <pc:docMk/>
            <pc:sldMk cId="3993973292" sldId="274"/>
            <ac:spMk id="6" creationId="{A705A842-B67A-1091-B43C-016955CEB56E}"/>
          </ac:spMkLst>
        </pc:spChg>
      </pc:sldChg>
      <pc:sldChg chg="addSp delSp modSp mod">
        <pc:chgData name="Ewen Trafford" userId="e520b4bf-a196-48b7-bc10-b1590a457daa" providerId="ADAL" clId="{FAE4F14E-C27C-4B84-87D7-6E24C646B925}" dt="2022-07-20T09:37:09.617" v="793" actId="20577"/>
        <pc:sldMkLst>
          <pc:docMk/>
          <pc:sldMk cId="2831772784" sldId="320"/>
        </pc:sldMkLst>
        <pc:spChg chg="mod">
          <ac:chgData name="Ewen Trafford" userId="e520b4bf-a196-48b7-bc10-b1590a457daa" providerId="ADAL" clId="{FAE4F14E-C27C-4B84-87D7-6E24C646B925}" dt="2022-07-20T09:37:09.617" v="793" actId="20577"/>
          <ac:spMkLst>
            <pc:docMk/>
            <pc:sldMk cId="2831772784" sldId="320"/>
            <ac:spMk id="3" creationId="{B08F7FAB-511F-7730-95EA-CDCD60827684}"/>
          </ac:spMkLst>
        </pc:spChg>
        <pc:picChg chg="del">
          <ac:chgData name="Ewen Trafford" userId="e520b4bf-a196-48b7-bc10-b1590a457daa" providerId="ADAL" clId="{FAE4F14E-C27C-4B84-87D7-6E24C646B925}" dt="2022-07-20T09:23:02.401" v="16" actId="478"/>
          <ac:picMkLst>
            <pc:docMk/>
            <pc:sldMk cId="2831772784" sldId="320"/>
            <ac:picMk id="4" creationId="{266E6B86-D6B0-43F9-AAD5-786D4B0275C5}"/>
          </ac:picMkLst>
        </pc:picChg>
        <pc:picChg chg="add mod">
          <ac:chgData name="Ewen Trafford" userId="e520b4bf-a196-48b7-bc10-b1590a457daa" providerId="ADAL" clId="{FAE4F14E-C27C-4B84-87D7-6E24C646B925}" dt="2022-07-20T09:36:33.927" v="638" actId="1076"/>
          <ac:picMkLst>
            <pc:docMk/>
            <pc:sldMk cId="2831772784" sldId="320"/>
            <ac:picMk id="8194" creationId="{86C749E3-951D-48B7-AC0D-E75B5DA10A49}"/>
          </ac:picMkLst>
        </pc:picChg>
      </pc:sldChg>
      <pc:sldChg chg="addSp delSp modSp mod">
        <pc:chgData name="Ewen Trafford" userId="e520b4bf-a196-48b7-bc10-b1590a457daa" providerId="ADAL" clId="{FAE4F14E-C27C-4B84-87D7-6E24C646B925}" dt="2022-07-20T14:58:45.895" v="4868" actId="1076"/>
        <pc:sldMkLst>
          <pc:docMk/>
          <pc:sldMk cId="1195441026" sldId="321"/>
        </pc:sldMkLst>
        <pc:spChg chg="mod">
          <ac:chgData name="Ewen Trafford" userId="e520b4bf-a196-48b7-bc10-b1590a457daa" providerId="ADAL" clId="{FAE4F14E-C27C-4B84-87D7-6E24C646B925}" dt="2022-07-20T09:28:21.005" v="167" actId="20577"/>
          <ac:spMkLst>
            <pc:docMk/>
            <pc:sldMk cId="1195441026" sldId="321"/>
            <ac:spMk id="2" creationId="{8C8F01D9-49FA-6C29-3674-01A422037CD5}"/>
          </ac:spMkLst>
        </pc:spChg>
        <pc:spChg chg="mod">
          <ac:chgData name="Ewen Trafford" userId="e520b4bf-a196-48b7-bc10-b1590a457daa" providerId="ADAL" clId="{FAE4F14E-C27C-4B84-87D7-6E24C646B925}" dt="2022-07-20T09:44:01.750" v="1756" actId="14100"/>
          <ac:spMkLst>
            <pc:docMk/>
            <pc:sldMk cId="1195441026" sldId="321"/>
            <ac:spMk id="3" creationId="{11F1639A-5BD0-7C4B-622B-50E9B9EA0EE0}"/>
          </ac:spMkLst>
        </pc:spChg>
        <pc:picChg chg="del">
          <ac:chgData name="Ewen Trafford" userId="e520b4bf-a196-48b7-bc10-b1590a457daa" providerId="ADAL" clId="{FAE4F14E-C27C-4B84-87D7-6E24C646B925}" dt="2022-07-20T09:23:03.557" v="17" actId="478"/>
          <ac:picMkLst>
            <pc:docMk/>
            <pc:sldMk cId="1195441026" sldId="321"/>
            <ac:picMk id="5" creationId="{1D67924C-E146-384E-9245-F1AFE23699DB}"/>
          </ac:picMkLst>
        </pc:picChg>
        <pc:picChg chg="del">
          <ac:chgData name="Ewen Trafford" userId="e520b4bf-a196-48b7-bc10-b1590a457daa" providerId="ADAL" clId="{FAE4F14E-C27C-4B84-87D7-6E24C646B925}" dt="2022-07-20T09:23:04.061" v="18" actId="478"/>
          <ac:picMkLst>
            <pc:docMk/>
            <pc:sldMk cId="1195441026" sldId="321"/>
            <ac:picMk id="6" creationId="{D40977C9-0B84-92AF-7B25-021B4DD5C9DB}"/>
          </ac:picMkLst>
        </pc:picChg>
        <pc:picChg chg="add mod">
          <ac:chgData name="Ewen Trafford" userId="e520b4bf-a196-48b7-bc10-b1590a457daa" providerId="ADAL" clId="{FAE4F14E-C27C-4B84-87D7-6E24C646B925}" dt="2022-07-20T14:58:45.895" v="4868" actId="1076"/>
          <ac:picMkLst>
            <pc:docMk/>
            <pc:sldMk cId="1195441026" sldId="321"/>
            <ac:picMk id="7" creationId="{AD589BE0-4090-487A-9A6C-B1F411F45B18}"/>
          </ac:picMkLst>
        </pc:picChg>
      </pc:sldChg>
      <pc:sldChg chg="addSp delSp modSp mod ord">
        <pc:chgData name="Ewen Trafford" userId="e520b4bf-a196-48b7-bc10-b1590a457daa" providerId="ADAL" clId="{FAE4F14E-C27C-4B84-87D7-6E24C646B925}" dt="2022-07-20T09:41:12.178" v="1308" actId="20577"/>
        <pc:sldMkLst>
          <pc:docMk/>
          <pc:sldMk cId="2939149858" sldId="322"/>
        </pc:sldMkLst>
        <pc:spChg chg="mod">
          <ac:chgData name="Ewen Trafford" userId="e520b4bf-a196-48b7-bc10-b1590a457daa" providerId="ADAL" clId="{FAE4F14E-C27C-4B84-87D7-6E24C646B925}" dt="2022-07-20T09:26:37.205" v="136"/>
          <ac:spMkLst>
            <pc:docMk/>
            <pc:sldMk cId="2939149858" sldId="322"/>
            <ac:spMk id="2" creationId="{C0656FD1-4489-F55F-822B-620888FD55A9}"/>
          </ac:spMkLst>
        </pc:spChg>
        <pc:spChg chg="mod">
          <ac:chgData name="Ewen Trafford" userId="e520b4bf-a196-48b7-bc10-b1590a457daa" providerId="ADAL" clId="{FAE4F14E-C27C-4B84-87D7-6E24C646B925}" dt="2022-07-20T09:37:20.437" v="798" actId="113"/>
          <ac:spMkLst>
            <pc:docMk/>
            <pc:sldMk cId="2939149858" sldId="322"/>
            <ac:spMk id="3" creationId="{BE28E501-5A4E-D1A3-A7D8-65D153A748C4}"/>
          </ac:spMkLst>
        </pc:spChg>
        <pc:spChg chg="add mod">
          <ac:chgData name="Ewen Trafford" userId="e520b4bf-a196-48b7-bc10-b1590a457daa" providerId="ADAL" clId="{FAE4F14E-C27C-4B84-87D7-6E24C646B925}" dt="2022-07-20T09:41:12.178" v="1308" actId="20577"/>
          <ac:spMkLst>
            <pc:docMk/>
            <pc:sldMk cId="2939149858" sldId="322"/>
            <ac:spMk id="6" creationId="{37F21B2D-0E3B-42DC-85A8-4511EB39D461}"/>
          </ac:spMkLst>
        </pc:spChg>
        <pc:picChg chg="del">
          <ac:chgData name="Ewen Trafford" userId="e520b4bf-a196-48b7-bc10-b1590a457daa" providerId="ADAL" clId="{FAE4F14E-C27C-4B84-87D7-6E24C646B925}" dt="2022-07-20T09:23:05.840" v="20" actId="478"/>
          <ac:picMkLst>
            <pc:docMk/>
            <pc:sldMk cId="2939149858" sldId="322"/>
            <ac:picMk id="4" creationId="{2320BE9A-E343-A8AC-9545-61AB76A6E6A8}"/>
          </ac:picMkLst>
        </pc:picChg>
        <pc:picChg chg="del">
          <ac:chgData name="Ewen Trafford" userId="e520b4bf-a196-48b7-bc10-b1590a457daa" providerId="ADAL" clId="{FAE4F14E-C27C-4B84-87D7-6E24C646B925}" dt="2022-07-20T09:23:05.400" v="19" actId="478"/>
          <ac:picMkLst>
            <pc:docMk/>
            <pc:sldMk cId="2939149858" sldId="322"/>
            <ac:picMk id="5" creationId="{7140EEAC-D98D-96D7-8F04-8B43C494531F}"/>
          </ac:picMkLst>
        </pc:picChg>
        <pc:picChg chg="add mod">
          <ac:chgData name="Ewen Trafford" userId="e520b4bf-a196-48b7-bc10-b1590a457daa" providerId="ADAL" clId="{FAE4F14E-C27C-4B84-87D7-6E24C646B925}" dt="2022-07-20T09:37:50.569" v="807" actId="1076"/>
          <ac:picMkLst>
            <pc:docMk/>
            <pc:sldMk cId="2939149858" sldId="322"/>
            <ac:picMk id="9218" creationId="{D3E4E176-8338-46ED-93E7-BF00525E8562}"/>
          </ac:picMkLst>
        </pc:picChg>
      </pc:sldChg>
      <pc:sldChg chg="addSp delSp modSp mod">
        <pc:chgData name="Ewen Trafford" userId="e520b4bf-a196-48b7-bc10-b1590a457daa" providerId="ADAL" clId="{FAE4F14E-C27C-4B84-87D7-6E24C646B925}" dt="2022-07-20T09:43:36.036" v="1714" actId="20577"/>
        <pc:sldMkLst>
          <pc:docMk/>
          <pc:sldMk cId="1855309931" sldId="323"/>
        </pc:sldMkLst>
        <pc:spChg chg="mod">
          <ac:chgData name="Ewen Trafford" userId="e520b4bf-a196-48b7-bc10-b1590a457daa" providerId="ADAL" clId="{FAE4F14E-C27C-4B84-87D7-6E24C646B925}" dt="2022-07-20T09:41:26.439" v="1320" actId="20577"/>
          <ac:spMkLst>
            <pc:docMk/>
            <pc:sldMk cId="1855309931" sldId="323"/>
            <ac:spMk id="2" creationId="{CF40B81A-2823-8056-34AE-B3308191DF5B}"/>
          </ac:spMkLst>
        </pc:spChg>
        <pc:spChg chg="mod">
          <ac:chgData name="Ewen Trafford" userId="e520b4bf-a196-48b7-bc10-b1590a457daa" providerId="ADAL" clId="{FAE4F14E-C27C-4B84-87D7-6E24C646B925}" dt="2022-07-20T09:43:36.036" v="1714" actId="20577"/>
          <ac:spMkLst>
            <pc:docMk/>
            <pc:sldMk cId="1855309931" sldId="323"/>
            <ac:spMk id="3" creationId="{53B4885A-37FC-0B67-2285-D9A9B9DC8C09}"/>
          </ac:spMkLst>
        </pc:spChg>
        <pc:spChg chg="del">
          <ac:chgData name="Ewen Trafford" userId="e520b4bf-a196-48b7-bc10-b1590a457daa" providerId="ADAL" clId="{FAE4F14E-C27C-4B84-87D7-6E24C646B925}" dt="2022-07-20T09:23:09.541" v="23" actId="478"/>
          <ac:spMkLst>
            <pc:docMk/>
            <pc:sldMk cId="1855309931" sldId="323"/>
            <ac:spMk id="7" creationId="{1AFEF03E-522B-B4FE-2D07-18CFD5CBADE7}"/>
          </ac:spMkLst>
        </pc:spChg>
        <pc:picChg chg="del">
          <ac:chgData name="Ewen Trafford" userId="e520b4bf-a196-48b7-bc10-b1590a457daa" providerId="ADAL" clId="{FAE4F14E-C27C-4B84-87D7-6E24C646B925}" dt="2022-07-20T09:23:07.641" v="22" actId="478"/>
          <ac:picMkLst>
            <pc:docMk/>
            <pc:sldMk cId="1855309931" sldId="323"/>
            <ac:picMk id="5" creationId="{02D3BF99-D455-9CDD-8934-3BE81F53533F}"/>
          </ac:picMkLst>
        </pc:picChg>
        <pc:picChg chg="del">
          <ac:chgData name="Ewen Trafford" userId="e520b4bf-a196-48b7-bc10-b1590a457daa" providerId="ADAL" clId="{FAE4F14E-C27C-4B84-87D7-6E24C646B925}" dt="2022-07-20T09:23:07.181" v="21" actId="478"/>
          <ac:picMkLst>
            <pc:docMk/>
            <pc:sldMk cId="1855309931" sldId="323"/>
            <ac:picMk id="6" creationId="{4D21DF80-DAFE-2DF9-0B67-7DC830836C82}"/>
          </ac:picMkLst>
        </pc:picChg>
        <pc:picChg chg="add mod">
          <ac:chgData name="Ewen Trafford" userId="e520b4bf-a196-48b7-bc10-b1590a457daa" providerId="ADAL" clId="{FAE4F14E-C27C-4B84-87D7-6E24C646B925}" dt="2022-07-20T09:42:28.279" v="1435" actId="1076"/>
          <ac:picMkLst>
            <pc:docMk/>
            <pc:sldMk cId="1855309931" sldId="323"/>
            <ac:picMk id="10242" creationId="{4E8EE500-503D-43C4-A91C-2151635CF21C}"/>
          </ac:picMkLst>
        </pc:picChg>
      </pc:sldChg>
      <pc:sldChg chg="addSp delSp modSp mod">
        <pc:chgData name="Ewen Trafford" userId="e520b4bf-a196-48b7-bc10-b1590a457daa" providerId="ADAL" clId="{FAE4F14E-C27C-4B84-87D7-6E24C646B925}" dt="2022-07-20T15:15:13.836" v="5407" actId="20577"/>
        <pc:sldMkLst>
          <pc:docMk/>
          <pc:sldMk cId="1577086551" sldId="325"/>
        </pc:sldMkLst>
        <pc:spChg chg="mod">
          <ac:chgData name="Ewen Trafford" userId="e520b4bf-a196-48b7-bc10-b1590a457daa" providerId="ADAL" clId="{FAE4F14E-C27C-4B84-87D7-6E24C646B925}" dt="2022-07-20T09:50:25.192" v="1762" actId="20577"/>
          <ac:spMkLst>
            <pc:docMk/>
            <pc:sldMk cId="1577086551" sldId="325"/>
            <ac:spMk id="2" creationId="{6CFEA9C0-24EE-EB05-6ED1-A7679B590EE1}"/>
          </ac:spMkLst>
        </pc:spChg>
        <pc:spChg chg="mod">
          <ac:chgData name="Ewen Trafford" userId="e520b4bf-a196-48b7-bc10-b1590a457daa" providerId="ADAL" clId="{FAE4F14E-C27C-4B84-87D7-6E24C646B925}" dt="2022-07-20T15:15:13.836" v="5407" actId="20577"/>
          <ac:spMkLst>
            <pc:docMk/>
            <pc:sldMk cId="1577086551" sldId="325"/>
            <ac:spMk id="3" creationId="{25ECF5C8-B231-B34A-F7D8-C96CD9FECAD2}"/>
          </ac:spMkLst>
        </pc:spChg>
        <pc:spChg chg="del">
          <ac:chgData name="Ewen Trafford" userId="e520b4bf-a196-48b7-bc10-b1590a457daa" providerId="ADAL" clId="{FAE4F14E-C27C-4B84-87D7-6E24C646B925}" dt="2022-07-20T09:23:14.001" v="25" actId="478"/>
          <ac:spMkLst>
            <pc:docMk/>
            <pc:sldMk cId="1577086551" sldId="325"/>
            <ac:spMk id="7" creationId="{F3322B2B-D7B9-430C-F868-28B0CC1B6741}"/>
          </ac:spMkLst>
        </pc:spChg>
        <pc:picChg chg="del">
          <ac:chgData name="Ewen Trafford" userId="e520b4bf-a196-48b7-bc10-b1590a457daa" providerId="ADAL" clId="{FAE4F14E-C27C-4B84-87D7-6E24C646B925}" dt="2022-07-20T09:23:12.572" v="24" actId="478"/>
          <ac:picMkLst>
            <pc:docMk/>
            <pc:sldMk cId="1577086551" sldId="325"/>
            <ac:picMk id="5" creationId="{5A213300-F078-AC3D-1810-9E18A127F545}"/>
          </ac:picMkLst>
        </pc:picChg>
        <pc:picChg chg="add mod">
          <ac:chgData name="Ewen Trafford" userId="e520b4bf-a196-48b7-bc10-b1590a457daa" providerId="ADAL" clId="{FAE4F14E-C27C-4B84-87D7-6E24C646B925}" dt="2022-07-20T14:59:47.376" v="4874" actId="1076"/>
          <ac:picMkLst>
            <pc:docMk/>
            <pc:sldMk cId="1577086551" sldId="325"/>
            <ac:picMk id="6" creationId="{B5DA4EED-71FE-4FFF-9D8D-9F8B7293DC09}"/>
          </ac:picMkLst>
        </pc:picChg>
      </pc:sldChg>
      <pc:sldChg chg="addSp delSp modSp mod">
        <pc:chgData name="Ewen Trafford" userId="e520b4bf-a196-48b7-bc10-b1590a457daa" providerId="ADAL" clId="{FAE4F14E-C27C-4B84-87D7-6E24C646B925}" dt="2022-07-20T15:14:28.162" v="5380" actId="20577"/>
        <pc:sldMkLst>
          <pc:docMk/>
          <pc:sldMk cId="2100916119" sldId="326"/>
        </pc:sldMkLst>
        <pc:spChg chg="mod">
          <ac:chgData name="Ewen Trafford" userId="e520b4bf-a196-48b7-bc10-b1590a457daa" providerId="ADAL" clId="{FAE4F14E-C27C-4B84-87D7-6E24C646B925}" dt="2022-07-20T15:14:28.162" v="5380" actId="20577"/>
          <ac:spMkLst>
            <pc:docMk/>
            <pc:sldMk cId="2100916119" sldId="326"/>
            <ac:spMk id="2" creationId="{FAD0F388-1AED-A299-E614-C6A84905AD5C}"/>
          </ac:spMkLst>
        </pc:spChg>
        <pc:spChg chg="mod">
          <ac:chgData name="Ewen Trafford" userId="e520b4bf-a196-48b7-bc10-b1590a457daa" providerId="ADAL" clId="{FAE4F14E-C27C-4B84-87D7-6E24C646B925}" dt="2022-07-20T11:59:45.045" v="3765" actId="20577"/>
          <ac:spMkLst>
            <pc:docMk/>
            <pc:sldMk cId="2100916119" sldId="326"/>
            <ac:spMk id="3" creationId="{2C665282-E317-C20B-46E2-966005E09A87}"/>
          </ac:spMkLst>
        </pc:spChg>
        <pc:spChg chg="add mod">
          <ac:chgData name="Ewen Trafford" userId="e520b4bf-a196-48b7-bc10-b1590a457daa" providerId="ADAL" clId="{FAE4F14E-C27C-4B84-87D7-6E24C646B925}" dt="2022-07-20T10:17:52.718" v="3503" actId="1076"/>
          <ac:spMkLst>
            <pc:docMk/>
            <pc:sldMk cId="2100916119" sldId="326"/>
            <ac:spMk id="9" creationId="{6BD147FE-DBCC-4E61-85D1-762F2A23080D}"/>
          </ac:spMkLst>
        </pc:spChg>
        <pc:picChg chg="del">
          <ac:chgData name="Ewen Trafford" userId="e520b4bf-a196-48b7-bc10-b1590a457daa" providerId="ADAL" clId="{FAE4F14E-C27C-4B84-87D7-6E24C646B925}" dt="2022-07-20T09:23:19.330" v="29" actId="478"/>
          <ac:picMkLst>
            <pc:docMk/>
            <pc:sldMk cId="2100916119" sldId="326"/>
            <ac:picMk id="4" creationId="{61CB6161-61EA-9ABC-6922-40D38C300152}"/>
          </ac:picMkLst>
        </pc:picChg>
        <pc:picChg chg="add mod">
          <ac:chgData name="Ewen Trafford" userId="e520b4bf-a196-48b7-bc10-b1590a457daa" providerId="ADAL" clId="{FAE4F14E-C27C-4B84-87D7-6E24C646B925}" dt="2022-07-20T10:16:33.512" v="3370"/>
          <ac:picMkLst>
            <pc:docMk/>
            <pc:sldMk cId="2100916119" sldId="326"/>
            <ac:picMk id="6" creationId="{20716ED3-36CE-4322-91E3-11220169F1F6}"/>
          </ac:picMkLst>
        </pc:picChg>
        <pc:picChg chg="del">
          <ac:chgData name="Ewen Trafford" userId="e520b4bf-a196-48b7-bc10-b1590a457daa" providerId="ADAL" clId="{FAE4F14E-C27C-4B84-87D7-6E24C646B925}" dt="2022-07-20T09:23:18.942" v="28" actId="478"/>
          <ac:picMkLst>
            <pc:docMk/>
            <pc:sldMk cId="2100916119" sldId="326"/>
            <ac:picMk id="8" creationId="{325B5A34-3789-9371-6C56-95DDBFCAA5DE}"/>
          </ac:picMkLst>
        </pc:picChg>
        <pc:cxnChg chg="add mod">
          <ac:chgData name="Ewen Trafford" userId="e520b4bf-a196-48b7-bc10-b1590a457daa" providerId="ADAL" clId="{FAE4F14E-C27C-4B84-87D7-6E24C646B925}" dt="2022-07-20T10:17:57.888" v="3504" actId="14100"/>
          <ac:cxnSpMkLst>
            <pc:docMk/>
            <pc:sldMk cId="2100916119" sldId="326"/>
            <ac:cxnSpMk id="7" creationId="{BD1FF4A3-7732-4698-8925-8CED1E8B3556}"/>
          </ac:cxnSpMkLst>
        </pc:cxnChg>
      </pc:sldChg>
      <pc:sldChg chg="delSp del mod">
        <pc:chgData name="Ewen Trafford" userId="e520b4bf-a196-48b7-bc10-b1590a457daa" providerId="ADAL" clId="{FAE4F14E-C27C-4B84-87D7-6E24C646B925}" dt="2022-07-20T09:53:05.622" v="2176" actId="47"/>
        <pc:sldMkLst>
          <pc:docMk/>
          <pc:sldMk cId="2039023108" sldId="327"/>
        </pc:sldMkLst>
        <pc:picChg chg="del">
          <ac:chgData name="Ewen Trafford" userId="e520b4bf-a196-48b7-bc10-b1590a457daa" providerId="ADAL" clId="{FAE4F14E-C27C-4B84-87D7-6E24C646B925}" dt="2022-07-20T09:23:24.762" v="33" actId="478"/>
          <ac:picMkLst>
            <pc:docMk/>
            <pc:sldMk cId="2039023108" sldId="327"/>
            <ac:picMk id="4" creationId="{4B9D2D8E-FB45-73C2-A641-146E099160E6}"/>
          </ac:picMkLst>
        </pc:picChg>
      </pc:sldChg>
      <pc:sldChg chg="addSp delSp add del mod">
        <pc:chgData name="Ewen Trafford" userId="e520b4bf-a196-48b7-bc10-b1590a457daa" providerId="ADAL" clId="{FAE4F14E-C27C-4B84-87D7-6E24C646B925}" dt="2022-07-20T13:28:55.941" v="4133" actId="47"/>
        <pc:sldMkLst>
          <pc:docMk/>
          <pc:sldMk cId="153349484" sldId="330"/>
        </pc:sldMkLst>
        <pc:picChg chg="add del">
          <ac:chgData name="Ewen Trafford" userId="e520b4bf-a196-48b7-bc10-b1590a457daa" providerId="ADAL" clId="{FAE4F14E-C27C-4B84-87D7-6E24C646B925}" dt="2022-07-20T09:23:37.483" v="38" actId="478"/>
          <ac:picMkLst>
            <pc:docMk/>
            <pc:sldMk cId="153349484" sldId="330"/>
            <ac:picMk id="5" creationId="{A372EA35-DA00-C5AE-AEED-B18E342AE263}"/>
          </ac:picMkLst>
        </pc:picChg>
        <pc:picChg chg="del">
          <ac:chgData name="Ewen Trafford" userId="e520b4bf-a196-48b7-bc10-b1590a457daa" providerId="ADAL" clId="{FAE4F14E-C27C-4B84-87D7-6E24C646B925}" dt="2022-07-20T13:28:37.833" v="4130" actId="478"/>
          <ac:picMkLst>
            <pc:docMk/>
            <pc:sldMk cId="153349484" sldId="330"/>
            <ac:picMk id="12" creationId="{07CEC015-C920-8907-7F05-DA2C64A16579}"/>
          </ac:picMkLst>
        </pc:picChg>
      </pc:sldChg>
      <pc:sldChg chg="addSp delSp modSp mod delCm">
        <pc:chgData name="Ewen Trafford" userId="e520b4bf-a196-48b7-bc10-b1590a457daa" providerId="ADAL" clId="{FAE4F14E-C27C-4B84-87D7-6E24C646B925}" dt="2022-07-20T14:56:04.522" v="4734" actId="13926"/>
        <pc:sldMkLst>
          <pc:docMk/>
          <pc:sldMk cId="3594171061" sldId="331"/>
        </pc:sldMkLst>
        <pc:spChg chg="add del">
          <ac:chgData name="Ewen Trafford" userId="e520b4bf-a196-48b7-bc10-b1590a457daa" providerId="ADAL" clId="{FAE4F14E-C27C-4B84-87D7-6E24C646B925}" dt="2022-07-20T14:48:58.474" v="4245" actId="478"/>
          <ac:spMkLst>
            <pc:docMk/>
            <pc:sldMk cId="3594171061" sldId="331"/>
            <ac:spMk id="3" creationId="{F125752D-9A62-EC8F-B592-EBFBCA644C0A}"/>
          </ac:spMkLst>
        </pc:spChg>
        <pc:graphicFrameChg chg="mod modGraphic">
          <ac:chgData name="Ewen Trafford" userId="e520b4bf-a196-48b7-bc10-b1590a457daa" providerId="ADAL" clId="{FAE4F14E-C27C-4B84-87D7-6E24C646B925}" dt="2022-07-20T14:56:04.522" v="4734" actId="13926"/>
          <ac:graphicFrameMkLst>
            <pc:docMk/>
            <pc:sldMk cId="3594171061" sldId="331"/>
            <ac:graphicFrameMk id="4" creationId="{852C40F4-3A0C-2C57-5C1A-53EF072895F3}"/>
          </ac:graphicFrameMkLst>
        </pc:graphicFrameChg>
      </pc:sldChg>
      <pc:sldChg chg="del">
        <pc:chgData name="Ewen Trafford" userId="e520b4bf-a196-48b7-bc10-b1590a457daa" providerId="ADAL" clId="{FAE4F14E-C27C-4B84-87D7-6E24C646B925}" dt="2022-07-20T09:23:27.479" v="34" actId="47"/>
        <pc:sldMkLst>
          <pc:docMk/>
          <pc:sldMk cId="477617242" sldId="332"/>
        </pc:sldMkLst>
      </pc:sldChg>
      <pc:sldChg chg="addSp delSp modSp mod">
        <pc:chgData name="Ewen Trafford" userId="e520b4bf-a196-48b7-bc10-b1590a457daa" providerId="ADAL" clId="{FAE4F14E-C27C-4B84-87D7-6E24C646B925}" dt="2022-07-20T12:07:12.550" v="4129" actId="20577"/>
        <pc:sldMkLst>
          <pc:docMk/>
          <pc:sldMk cId="2621305010" sldId="333"/>
        </pc:sldMkLst>
        <pc:spChg chg="mod">
          <ac:chgData name="Ewen Trafford" userId="e520b4bf-a196-48b7-bc10-b1590a457daa" providerId="ADAL" clId="{FAE4F14E-C27C-4B84-87D7-6E24C646B925}" dt="2022-07-20T09:52:57.050" v="2172" actId="20577"/>
          <ac:spMkLst>
            <pc:docMk/>
            <pc:sldMk cId="2621305010" sldId="333"/>
            <ac:spMk id="2" creationId="{FDEA6281-391E-66E2-1DB3-80FC7F3BDEE5}"/>
          </ac:spMkLst>
        </pc:spChg>
        <pc:spChg chg="mod">
          <ac:chgData name="Ewen Trafford" userId="e520b4bf-a196-48b7-bc10-b1590a457daa" providerId="ADAL" clId="{FAE4F14E-C27C-4B84-87D7-6E24C646B925}" dt="2022-07-20T12:07:12.550" v="4129" actId="20577"/>
          <ac:spMkLst>
            <pc:docMk/>
            <pc:sldMk cId="2621305010" sldId="333"/>
            <ac:spMk id="3" creationId="{4064AF50-EC9A-5285-EC07-7CD21438E99F}"/>
          </ac:spMkLst>
        </pc:spChg>
        <pc:spChg chg="add mod">
          <ac:chgData name="Ewen Trafford" userId="e520b4bf-a196-48b7-bc10-b1590a457daa" providerId="ADAL" clId="{FAE4F14E-C27C-4B84-87D7-6E24C646B925}" dt="2022-07-20T10:19:18.049" v="3524" actId="20577"/>
          <ac:spMkLst>
            <pc:docMk/>
            <pc:sldMk cId="2621305010" sldId="333"/>
            <ac:spMk id="9" creationId="{2A6216CF-87A2-41A9-BB3C-C3E6FE558FD7}"/>
          </ac:spMkLst>
        </pc:spChg>
        <pc:picChg chg="add mod modCrop">
          <ac:chgData name="Ewen Trafford" userId="e520b4bf-a196-48b7-bc10-b1590a457daa" providerId="ADAL" clId="{FAE4F14E-C27C-4B84-87D7-6E24C646B925}" dt="2022-07-20T10:18:58.570" v="3519" actId="1076"/>
          <ac:picMkLst>
            <pc:docMk/>
            <pc:sldMk cId="2621305010" sldId="333"/>
            <ac:picMk id="6" creationId="{DCFCA221-29AC-4E11-B474-BB6638413258}"/>
          </ac:picMkLst>
        </pc:picChg>
        <pc:picChg chg="del">
          <ac:chgData name="Ewen Trafford" userId="e520b4bf-a196-48b7-bc10-b1590a457daa" providerId="ADAL" clId="{FAE4F14E-C27C-4B84-87D7-6E24C646B925}" dt="2022-07-20T09:23:21.290" v="30" actId="478"/>
          <ac:picMkLst>
            <pc:docMk/>
            <pc:sldMk cId="2621305010" sldId="333"/>
            <ac:picMk id="7" creationId="{1BD31FB6-BA1A-F48F-1F64-EC35B64043FD}"/>
          </ac:picMkLst>
        </pc:picChg>
        <pc:picChg chg="del">
          <ac:chgData name="Ewen Trafford" userId="e520b4bf-a196-48b7-bc10-b1590a457daa" providerId="ADAL" clId="{FAE4F14E-C27C-4B84-87D7-6E24C646B925}" dt="2022-07-20T09:23:21.630" v="31" actId="478"/>
          <ac:picMkLst>
            <pc:docMk/>
            <pc:sldMk cId="2621305010" sldId="333"/>
            <ac:picMk id="11" creationId="{BCE24CF7-63E5-78B9-F8EC-E571288AF740}"/>
          </ac:picMkLst>
        </pc:picChg>
        <pc:cxnChg chg="add mod">
          <ac:chgData name="Ewen Trafford" userId="e520b4bf-a196-48b7-bc10-b1590a457daa" providerId="ADAL" clId="{FAE4F14E-C27C-4B84-87D7-6E24C646B925}" dt="2022-07-20T10:19:10.195" v="3521" actId="14100"/>
          <ac:cxnSpMkLst>
            <pc:docMk/>
            <pc:sldMk cId="2621305010" sldId="333"/>
            <ac:cxnSpMk id="8" creationId="{3963AA22-0FEB-4D90-8DA5-AC84C7AB218E}"/>
          </ac:cxnSpMkLst>
        </pc:cxnChg>
      </pc:sldChg>
      <pc:sldChg chg="delSp del mod">
        <pc:chgData name="Ewen Trafford" userId="e520b4bf-a196-48b7-bc10-b1590a457daa" providerId="ADAL" clId="{FAE4F14E-C27C-4B84-87D7-6E24C646B925}" dt="2022-07-20T09:53:04.769" v="2175" actId="47"/>
        <pc:sldMkLst>
          <pc:docMk/>
          <pc:sldMk cId="1992076852" sldId="334"/>
        </pc:sldMkLst>
        <pc:picChg chg="del">
          <ac:chgData name="Ewen Trafford" userId="e520b4bf-a196-48b7-bc10-b1590a457daa" providerId="ADAL" clId="{FAE4F14E-C27C-4B84-87D7-6E24C646B925}" dt="2022-07-20T09:23:23.072" v="32" actId="478"/>
          <ac:picMkLst>
            <pc:docMk/>
            <pc:sldMk cId="1992076852" sldId="334"/>
            <ac:picMk id="4" creationId="{42C93042-633F-35AF-BA5B-9D626703DB6D}"/>
          </ac:picMkLst>
        </pc:picChg>
      </pc:sldChg>
      <pc:sldChg chg="addSp delSp modSp mod">
        <pc:chgData name="Ewen Trafford" userId="e520b4bf-a196-48b7-bc10-b1590a457daa" providerId="ADAL" clId="{FAE4F14E-C27C-4B84-87D7-6E24C646B925}" dt="2022-07-20T10:16:03.948" v="3369" actId="14100"/>
        <pc:sldMkLst>
          <pc:docMk/>
          <pc:sldMk cId="568958115" sldId="335"/>
        </pc:sldMkLst>
        <pc:spChg chg="mod">
          <ac:chgData name="Ewen Trafford" userId="e520b4bf-a196-48b7-bc10-b1590a457daa" providerId="ADAL" clId="{FAE4F14E-C27C-4B84-87D7-6E24C646B925}" dt="2022-07-20T09:52:35.142" v="2121" actId="20577"/>
          <ac:spMkLst>
            <pc:docMk/>
            <pc:sldMk cId="568958115" sldId="335"/>
            <ac:spMk id="2" creationId="{69E0D44B-2259-C19F-790A-E64A638ADA8A}"/>
          </ac:spMkLst>
        </pc:spChg>
        <pc:spChg chg="mod">
          <ac:chgData name="Ewen Trafford" userId="e520b4bf-a196-48b7-bc10-b1590a457daa" providerId="ADAL" clId="{FAE4F14E-C27C-4B84-87D7-6E24C646B925}" dt="2022-07-20T10:12:57.698" v="3157" actId="20577"/>
          <ac:spMkLst>
            <pc:docMk/>
            <pc:sldMk cId="568958115" sldId="335"/>
            <ac:spMk id="3" creationId="{7A1ACDE8-06F6-9A1F-FEA6-E8329882C225}"/>
          </ac:spMkLst>
        </pc:spChg>
        <pc:spChg chg="del">
          <ac:chgData name="Ewen Trafford" userId="e520b4bf-a196-48b7-bc10-b1590a457daa" providerId="ADAL" clId="{FAE4F14E-C27C-4B84-87D7-6E24C646B925}" dt="2022-07-20T09:23:16.762" v="27" actId="478"/>
          <ac:spMkLst>
            <pc:docMk/>
            <pc:sldMk cId="568958115" sldId="335"/>
            <ac:spMk id="5" creationId="{02286E42-A545-A71F-96AC-AB93716B6D80}"/>
          </ac:spMkLst>
        </pc:spChg>
        <pc:spChg chg="add mod">
          <ac:chgData name="Ewen Trafford" userId="e520b4bf-a196-48b7-bc10-b1590a457daa" providerId="ADAL" clId="{FAE4F14E-C27C-4B84-87D7-6E24C646B925}" dt="2022-07-20T10:16:03.948" v="3369" actId="14100"/>
          <ac:spMkLst>
            <pc:docMk/>
            <pc:sldMk cId="568958115" sldId="335"/>
            <ac:spMk id="10" creationId="{5D6F8204-A5D0-4993-A32A-69D3D0976CF9}"/>
          </ac:spMkLst>
        </pc:spChg>
        <pc:picChg chg="del">
          <ac:chgData name="Ewen Trafford" userId="e520b4bf-a196-48b7-bc10-b1590a457daa" providerId="ADAL" clId="{FAE4F14E-C27C-4B84-87D7-6E24C646B925}" dt="2022-07-20T09:23:15.702" v="26" actId="478"/>
          <ac:picMkLst>
            <pc:docMk/>
            <pc:sldMk cId="568958115" sldId="335"/>
            <ac:picMk id="4" creationId="{7B8C6D31-DF0E-38D3-7B2D-2F4D49B1FB5A}"/>
          </ac:picMkLst>
        </pc:picChg>
        <pc:picChg chg="add mod modCrop">
          <ac:chgData name="Ewen Trafford" userId="e520b4bf-a196-48b7-bc10-b1590a457daa" providerId="ADAL" clId="{FAE4F14E-C27C-4B84-87D7-6E24C646B925}" dt="2022-07-20T10:13:42.929" v="3166" actId="1076"/>
          <ac:picMkLst>
            <pc:docMk/>
            <pc:sldMk cId="568958115" sldId="335"/>
            <ac:picMk id="6" creationId="{3E71CD65-71F4-43C3-B8AF-4A3A951DC28D}"/>
          </ac:picMkLst>
        </pc:picChg>
        <pc:cxnChg chg="add mod">
          <ac:chgData name="Ewen Trafford" userId="e520b4bf-a196-48b7-bc10-b1590a457daa" providerId="ADAL" clId="{FAE4F14E-C27C-4B84-87D7-6E24C646B925}" dt="2022-07-20T10:15:08.807" v="3185" actId="1076"/>
          <ac:cxnSpMkLst>
            <pc:docMk/>
            <pc:sldMk cId="568958115" sldId="335"/>
            <ac:cxnSpMk id="8" creationId="{9766098F-B058-4857-809C-D33A706C1FDD}"/>
          </ac:cxnSpMkLst>
        </pc:cxnChg>
      </pc:sldChg>
      <pc:sldChg chg="delSp del mod">
        <pc:chgData name="Ewen Trafford" userId="e520b4bf-a196-48b7-bc10-b1590a457daa" providerId="ADAL" clId="{FAE4F14E-C27C-4B84-87D7-6E24C646B925}" dt="2022-07-20T09:23:40.584" v="40" actId="47"/>
        <pc:sldMkLst>
          <pc:docMk/>
          <pc:sldMk cId="1320110399" sldId="336"/>
        </pc:sldMkLst>
        <pc:picChg chg="del">
          <ac:chgData name="Ewen Trafford" userId="e520b4bf-a196-48b7-bc10-b1590a457daa" providerId="ADAL" clId="{FAE4F14E-C27C-4B84-87D7-6E24C646B925}" dt="2022-07-20T09:23:39.622" v="39" actId="478"/>
          <ac:picMkLst>
            <pc:docMk/>
            <pc:sldMk cId="1320110399" sldId="336"/>
            <ac:picMk id="7" creationId="{CEBF10CC-61FD-3B64-0BD8-DBBE6622F123}"/>
          </ac:picMkLst>
        </pc:picChg>
      </pc:sldChg>
      <pc:sldChg chg="del">
        <pc:chgData name="Ewen Trafford" userId="e520b4bf-a196-48b7-bc10-b1590a457daa" providerId="ADAL" clId="{FAE4F14E-C27C-4B84-87D7-6E24C646B925}" dt="2022-07-20T09:23:47.165" v="43" actId="47"/>
        <pc:sldMkLst>
          <pc:docMk/>
          <pc:sldMk cId="553280098" sldId="337"/>
        </pc:sldMkLst>
      </pc:sldChg>
      <pc:sldChg chg="modSp mod">
        <pc:chgData name="Ewen Trafford" userId="e520b4bf-a196-48b7-bc10-b1590a457daa" providerId="ADAL" clId="{FAE4F14E-C27C-4B84-87D7-6E24C646B925}" dt="2022-07-20T15:03:29.790" v="4876" actId="20577"/>
        <pc:sldMkLst>
          <pc:docMk/>
          <pc:sldMk cId="2046763801" sldId="338"/>
        </pc:sldMkLst>
        <pc:spChg chg="mod">
          <ac:chgData name="Ewen Trafford" userId="e520b4bf-a196-48b7-bc10-b1590a457daa" providerId="ADAL" clId="{FAE4F14E-C27C-4B84-87D7-6E24C646B925}" dt="2022-07-20T09:26:37.205" v="136"/>
          <ac:spMkLst>
            <pc:docMk/>
            <pc:sldMk cId="2046763801" sldId="338"/>
            <ac:spMk id="2" creationId="{CB2517A4-E10A-E444-1061-434E356416A6}"/>
          </ac:spMkLst>
        </pc:spChg>
        <pc:spChg chg="mod">
          <ac:chgData name="Ewen Trafford" userId="e520b4bf-a196-48b7-bc10-b1590a457daa" providerId="ADAL" clId="{FAE4F14E-C27C-4B84-87D7-6E24C646B925}" dt="2022-07-20T15:03:29.790" v="4876" actId="20577"/>
          <ac:spMkLst>
            <pc:docMk/>
            <pc:sldMk cId="2046763801" sldId="338"/>
            <ac:spMk id="3" creationId="{CDC99BCA-D4B3-5B9E-85FC-708932B92CBD}"/>
          </ac:spMkLst>
        </pc:spChg>
      </pc:sldChg>
      <pc:sldChg chg="modSp mod">
        <pc:chgData name="Ewen Trafford" userId="e520b4bf-a196-48b7-bc10-b1590a457daa" providerId="ADAL" clId="{FAE4F14E-C27C-4B84-87D7-6E24C646B925}" dt="2022-07-20T15:03:35.082" v="4878" actId="113"/>
        <pc:sldMkLst>
          <pc:docMk/>
          <pc:sldMk cId="2070260529" sldId="339"/>
        </pc:sldMkLst>
        <pc:spChg chg="mod">
          <ac:chgData name="Ewen Trafford" userId="e520b4bf-a196-48b7-bc10-b1590a457daa" providerId="ADAL" clId="{FAE4F14E-C27C-4B84-87D7-6E24C646B925}" dt="2022-07-20T09:26:37.205" v="136"/>
          <ac:spMkLst>
            <pc:docMk/>
            <pc:sldMk cId="2070260529" sldId="339"/>
            <ac:spMk id="2" creationId="{7F902433-BE09-580A-3E8C-C0DDD80ACC8F}"/>
          </ac:spMkLst>
        </pc:spChg>
        <pc:spChg chg="mod">
          <ac:chgData name="Ewen Trafford" userId="e520b4bf-a196-48b7-bc10-b1590a457daa" providerId="ADAL" clId="{FAE4F14E-C27C-4B84-87D7-6E24C646B925}" dt="2022-07-20T15:03:35.082" v="4878" actId="113"/>
          <ac:spMkLst>
            <pc:docMk/>
            <pc:sldMk cId="2070260529" sldId="339"/>
            <ac:spMk id="3" creationId="{82844BDE-4E6A-0B46-4D93-2FCABBF069E7}"/>
          </ac:spMkLst>
        </pc:spChg>
      </pc:sldChg>
      <pc:sldChg chg="modSp del">
        <pc:chgData name="Ewen Trafford" userId="e520b4bf-a196-48b7-bc10-b1590a457daa" providerId="ADAL" clId="{FAE4F14E-C27C-4B84-87D7-6E24C646B925}" dt="2022-07-20T15:03:38.179" v="4879" actId="47"/>
        <pc:sldMkLst>
          <pc:docMk/>
          <pc:sldMk cId="661775352" sldId="340"/>
        </pc:sldMkLst>
        <pc:spChg chg="mod">
          <ac:chgData name="Ewen Trafford" userId="e520b4bf-a196-48b7-bc10-b1590a457daa" providerId="ADAL" clId="{FAE4F14E-C27C-4B84-87D7-6E24C646B925}" dt="2022-07-20T09:26:37.205" v="136"/>
          <ac:spMkLst>
            <pc:docMk/>
            <pc:sldMk cId="661775352" sldId="340"/>
            <ac:spMk id="2" creationId="{D4D718B0-5CE8-6F0E-60F1-7D3FD91C2880}"/>
          </ac:spMkLst>
        </pc:spChg>
        <pc:spChg chg="mod">
          <ac:chgData name="Ewen Trafford" userId="e520b4bf-a196-48b7-bc10-b1590a457daa" providerId="ADAL" clId="{FAE4F14E-C27C-4B84-87D7-6E24C646B925}" dt="2022-07-20T09:26:37.205" v="136"/>
          <ac:spMkLst>
            <pc:docMk/>
            <pc:sldMk cId="661775352" sldId="340"/>
            <ac:spMk id="3" creationId="{125DC89D-D05E-9771-9226-3C1B0A19742E}"/>
          </ac:spMkLst>
        </pc:spChg>
      </pc:sldChg>
      <pc:sldChg chg="delSp modSp mod">
        <pc:chgData name="Ewen Trafford" userId="e520b4bf-a196-48b7-bc10-b1590a457daa" providerId="ADAL" clId="{FAE4F14E-C27C-4B84-87D7-6E24C646B925}" dt="2022-07-20T15:03:26.753" v="4875" actId="20577"/>
        <pc:sldMkLst>
          <pc:docMk/>
          <pc:sldMk cId="1867798484" sldId="341"/>
        </pc:sldMkLst>
        <pc:spChg chg="mod">
          <ac:chgData name="Ewen Trafford" userId="e520b4bf-a196-48b7-bc10-b1590a457daa" providerId="ADAL" clId="{FAE4F14E-C27C-4B84-87D7-6E24C646B925}" dt="2022-07-20T15:03:26.753" v="4875" actId="20577"/>
          <ac:spMkLst>
            <pc:docMk/>
            <pc:sldMk cId="1867798484" sldId="341"/>
            <ac:spMk id="3" creationId="{B08F7FAB-511F-7730-95EA-CDCD60827684}"/>
          </ac:spMkLst>
        </pc:spChg>
        <pc:picChg chg="del">
          <ac:chgData name="Ewen Trafford" userId="e520b4bf-a196-48b7-bc10-b1590a457daa" providerId="ADAL" clId="{FAE4F14E-C27C-4B84-87D7-6E24C646B925}" dt="2022-07-20T09:24:01.143" v="61" actId="478"/>
          <ac:picMkLst>
            <pc:docMk/>
            <pc:sldMk cId="1867798484" sldId="341"/>
            <ac:picMk id="4" creationId="{266E6B86-D6B0-43F9-AAD5-786D4B0275C5}"/>
          </ac:picMkLst>
        </pc:picChg>
      </pc:sldChg>
      <pc:sldChg chg="del">
        <pc:chgData name="Ewen Trafford" userId="e520b4bf-a196-48b7-bc10-b1590a457daa" providerId="ADAL" clId="{FAE4F14E-C27C-4B84-87D7-6E24C646B925}" dt="2022-07-20T15:03:39.259" v="4880" actId="47"/>
        <pc:sldMkLst>
          <pc:docMk/>
          <pc:sldMk cId="653686736" sldId="342"/>
        </pc:sldMkLst>
      </pc:sldChg>
      <pc:sldChg chg="del">
        <pc:chgData name="Ewen Trafford" userId="e520b4bf-a196-48b7-bc10-b1590a457daa" providerId="ADAL" clId="{FAE4F14E-C27C-4B84-87D7-6E24C646B925}" dt="2022-07-20T15:03:40.609" v="4881" actId="47"/>
        <pc:sldMkLst>
          <pc:docMk/>
          <pc:sldMk cId="236659418" sldId="343"/>
        </pc:sldMkLst>
      </pc:sldChg>
      <pc:sldChg chg="del">
        <pc:chgData name="Ewen Trafford" userId="e520b4bf-a196-48b7-bc10-b1590a457daa" providerId="ADAL" clId="{FAE4F14E-C27C-4B84-87D7-6E24C646B925}" dt="2022-07-20T15:03:41.955" v="4882" actId="47"/>
        <pc:sldMkLst>
          <pc:docMk/>
          <pc:sldMk cId="32424236" sldId="344"/>
        </pc:sldMkLst>
      </pc:sldChg>
      <pc:sldChg chg="modSp mod">
        <pc:chgData name="Ewen Trafford" userId="e520b4bf-a196-48b7-bc10-b1590a457daa" providerId="ADAL" clId="{FAE4F14E-C27C-4B84-87D7-6E24C646B925}" dt="2022-07-20T09:25:49.191" v="112" actId="20577"/>
        <pc:sldMkLst>
          <pc:docMk/>
          <pc:sldMk cId="1628781729" sldId="345"/>
        </pc:sldMkLst>
        <pc:spChg chg="mod">
          <ac:chgData name="Ewen Trafford" userId="e520b4bf-a196-48b7-bc10-b1590a457daa" providerId="ADAL" clId="{FAE4F14E-C27C-4B84-87D7-6E24C646B925}" dt="2022-07-20T09:25:49.191" v="112" actId="20577"/>
          <ac:spMkLst>
            <pc:docMk/>
            <pc:sldMk cId="1628781729" sldId="345"/>
            <ac:spMk id="2" creationId="{74B8B1D9-E25C-F40A-522B-54113616FBDB}"/>
          </ac:spMkLst>
        </pc:spChg>
        <pc:spChg chg="mod">
          <ac:chgData name="Ewen Trafford" userId="e520b4bf-a196-48b7-bc10-b1590a457daa" providerId="ADAL" clId="{FAE4F14E-C27C-4B84-87D7-6E24C646B925}" dt="2022-07-20T09:25:40.823" v="95" actId="20577"/>
          <ac:spMkLst>
            <pc:docMk/>
            <pc:sldMk cId="1628781729" sldId="345"/>
            <ac:spMk id="3" creationId="{8CAB9D22-B491-9AFA-4800-DD173F69AF8D}"/>
          </ac:spMkLst>
        </pc:spChg>
      </pc:sldChg>
      <pc:sldChg chg="modSp del">
        <pc:chgData name="Ewen Trafford" userId="e520b4bf-a196-48b7-bc10-b1590a457daa" providerId="ADAL" clId="{FAE4F14E-C27C-4B84-87D7-6E24C646B925}" dt="2022-07-20T15:03:42.873" v="4883" actId="47"/>
        <pc:sldMkLst>
          <pc:docMk/>
          <pc:sldMk cId="3066457160" sldId="346"/>
        </pc:sldMkLst>
        <pc:spChg chg="mod">
          <ac:chgData name="Ewen Trafford" userId="e520b4bf-a196-48b7-bc10-b1590a457daa" providerId="ADAL" clId="{FAE4F14E-C27C-4B84-87D7-6E24C646B925}" dt="2022-07-20T09:26:37.205" v="136"/>
          <ac:spMkLst>
            <pc:docMk/>
            <pc:sldMk cId="3066457160" sldId="346"/>
            <ac:spMk id="2" creationId="{469EB1B7-A19D-26FC-21D7-5DB81FCC9A5C}"/>
          </ac:spMkLst>
        </pc:spChg>
        <pc:spChg chg="mod">
          <ac:chgData name="Ewen Trafford" userId="e520b4bf-a196-48b7-bc10-b1590a457daa" providerId="ADAL" clId="{FAE4F14E-C27C-4B84-87D7-6E24C646B925}" dt="2022-07-20T09:26:37.205" v="136"/>
          <ac:spMkLst>
            <pc:docMk/>
            <pc:sldMk cId="3066457160" sldId="346"/>
            <ac:spMk id="6" creationId="{8C0A5466-C6A6-09FA-0B0D-161CA462D4C8}"/>
          </ac:spMkLst>
        </pc:spChg>
      </pc:sldChg>
      <pc:sldChg chg="modSp mod">
        <pc:chgData name="Ewen Trafford" userId="e520b4bf-a196-48b7-bc10-b1590a457daa" providerId="ADAL" clId="{FAE4F14E-C27C-4B84-87D7-6E24C646B925}" dt="2022-07-20T09:25:56.615" v="113" actId="20577"/>
        <pc:sldMkLst>
          <pc:docMk/>
          <pc:sldMk cId="2216651741" sldId="349"/>
        </pc:sldMkLst>
        <pc:spChg chg="mod">
          <ac:chgData name="Ewen Trafford" userId="e520b4bf-a196-48b7-bc10-b1590a457daa" providerId="ADAL" clId="{FAE4F14E-C27C-4B84-87D7-6E24C646B925}" dt="2022-07-20T09:25:56.615" v="113" actId="20577"/>
          <ac:spMkLst>
            <pc:docMk/>
            <pc:sldMk cId="2216651741" sldId="349"/>
            <ac:spMk id="3" creationId="{2B2F653F-C430-F503-517E-CDF8E13CD0EC}"/>
          </ac:spMkLst>
        </pc:spChg>
      </pc:sldChg>
      <pc:sldChg chg="delSp modSp mod">
        <pc:chgData name="Ewen Trafford" userId="e520b4bf-a196-48b7-bc10-b1590a457daa" providerId="ADAL" clId="{FAE4F14E-C27C-4B84-87D7-6E24C646B925}" dt="2022-07-20T15:05:37.672" v="4888" actId="113"/>
        <pc:sldMkLst>
          <pc:docMk/>
          <pc:sldMk cId="1044731279" sldId="350"/>
        </pc:sldMkLst>
        <pc:spChg chg="mod">
          <ac:chgData name="Ewen Trafford" userId="e520b4bf-a196-48b7-bc10-b1590a457daa" providerId="ADAL" clId="{FAE4F14E-C27C-4B84-87D7-6E24C646B925}" dt="2022-07-20T09:26:37.205" v="136"/>
          <ac:spMkLst>
            <pc:docMk/>
            <pc:sldMk cId="1044731279" sldId="350"/>
            <ac:spMk id="2" creationId="{09C8F7D6-0DE9-55CD-510F-91955FB21153}"/>
          </ac:spMkLst>
        </pc:spChg>
        <pc:spChg chg="mod">
          <ac:chgData name="Ewen Trafford" userId="e520b4bf-a196-48b7-bc10-b1590a457daa" providerId="ADAL" clId="{FAE4F14E-C27C-4B84-87D7-6E24C646B925}" dt="2022-07-20T15:05:37.672" v="4888" actId="113"/>
          <ac:spMkLst>
            <pc:docMk/>
            <pc:sldMk cId="1044731279" sldId="350"/>
            <ac:spMk id="3" creationId="{3F4AB2AE-64C7-4EAD-7377-33BA885C3FC6}"/>
          </ac:spMkLst>
        </pc:spChg>
        <pc:spChg chg="del">
          <ac:chgData name="Ewen Trafford" userId="e520b4bf-a196-48b7-bc10-b1590a457daa" providerId="ADAL" clId="{FAE4F14E-C27C-4B84-87D7-6E24C646B925}" dt="2022-07-20T09:26:17.053" v="119" actId="478"/>
          <ac:spMkLst>
            <pc:docMk/>
            <pc:sldMk cId="1044731279" sldId="350"/>
            <ac:spMk id="4" creationId="{7E793C40-9CB1-7AF8-E20C-CC91F8CD64DA}"/>
          </ac:spMkLst>
        </pc:spChg>
      </pc:sldChg>
      <pc:sldChg chg="del">
        <pc:chgData name="Ewen Trafford" userId="e520b4bf-a196-48b7-bc10-b1590a457daa" providerId="ADAL" clId="{FAE4F14E-C27C-4B84-87D7-6E24C646B925}" dt="2022-07-20T09:26:08.129" v="116" actId="47"/>
        <pc:sldMkLst>
          <pc:docMk/>
          <pc:sldMk cId="595403577" sldId="352"/>
        </pc:sldMkLst>
      </pc:sldChg>
      <pc:sldChg chg="modSp del mod">
        <pc:chgData name="Ewen Trafford" userId="e520b4bf-a196-48b7-bc10-b1590a457daa" providerId="ADAL" clId="{FAE4F14E-C27C-4B84-87D7-6E24C646B925}" dt="2022-07-20T15:03:46.944" v="4884" actId="47"/>
        <pc:sldMkLst>
          <pc:docMk/>
          <pc:sldMk cId="1709732832" sldId="353"/>
        </pc:sldMkLst>
        <pc:spChg chg="mod">
          <ac:chgData name="Ewen Trafford" userId="e520b4bf-a196-48b7-bc10-b1590a457daa" providerId="ADAL" clId="{FAE4F14E-C27C-4B84-87D7-6E24C646B925}" dt="2022-07-20T09:25:59.494" v="114" actId="20577"/>
          <ac:spMkLst>
            <pc:docMk/>
            <pc:sldMk cId="1709732832" sldId="353"/>
            <ac:spMk id="3" creationId="{B16FC004-1120-161A-ACD7-501951F35921}"/>
          </ac:spMkLst>
        </pc:spChg>
      </pc:sldChg>
      <pc:sldChg chg="modSp mod">
        <pc:chgData name="Ewen Trafford" userId="e520b4bf-a196-48b7-bc10-b1590a457daa" providerId="ADAL" clId="{FAE4F14E-C27C-4B84-87D7-6E24C646B925}" dt="2022-07-20T15:03:55.272" v="4887" actId="20577"/>
        <pc:sldMkLst>
          <pc:docMk/>
          <pc:sldMk cId="1109679171" sldId="354"/>
        </pc:sldMkLst>
        <pc:spChg chg="mod">
          <ac:chgData name="Ewen Trafford" userId="e520b4bf-a196-48b7-bc10-b1590a457daa" providerId="ADAL" clId="{FAE4F14E-C27C-4B84-87D7-6E24C646B925}" dt="2022-07-20T15:03:55.272" v="4887" actId="20577"/>
          <ac:spMkLst>
            <pc:docMk/>
            <pc:sldMk cId="1109679171" sldId="354"/>
            <ac:spMk id="2" creationId="{3D9957A6-0FFC-F702-9FBB-59B31771F969}"/>
          </ac:spMkLst>
        </pc:spChg>
        <pc:spChg chg="mod">
          <ac:chgData name="Ewen Trafford" userId="e520b4bf-a196-48b7-bc10-b1590a457daa" providerId="ADAL" clId="{FAE4F14E-C27C-4B84-87D7-6E24C646B925}" dt="2022-07-20T09:26:02.713" v="115" actId="20577"/>
          <ac:spMkLst>
            <pc:docMk/>
            <pc:sldMk cId="1109679171" sldId="354"/>
            <ac:spMk id="3" creationId="{5204CA75-A31A-AD47-DC3C-C19E15F38F87}"/>
          </ac:spMkLst>
        </pc:spChg>
      </pc:sldChg>
      <pc:sldChg chg="addSp modSp add mod">
        <pc:chgData name="Ewen Trafford" userId="e520b4bf-a196-48b7-bc10-b1590a457daa" providerId="ADAL" clId="{FAE4F14E-C27C-4B84-87D7-6E24C646B925}" dt="2022-07-20T10:07:53.014" v="2690" actId="20577"/>
        <pc:sldMkLst>
          <pc:docMk/>
          <pc:sldMk cId="357386720" sldId="355"/>
        </pc:sldMkLst>
        <pc:spChg chg="mod">
          <ac:chgData name="Ewen Trafford" userId="e520b4bf-a196-48b7-bc10-b1590a457daa" providerId="ADAL" clId="{FAE4F14E-C27C-4B84-87D7-6E24C646B925}" dt="2022-07-20T10:00:27.563" v="2222" actId="20577"/>
          <ac:spMkLst>
            <pc:docMk/>
            <pc:sldMk cId="357386720" sldId="355"/>
            <ac:spMk id="2" creationId="{6CFEA9C0-24EE-EB05-6ED1-A7679B590EE1}"/>
          </ac:spMkLst>
        </pc:spChg>
        <pc:spChg chg="mod">
          <ac:chgData name="Ewen Trafford" userId="e520b4bf-a196-48b7-bc10-b1590a457daa" providerId="ADAL" clId="{FAE4F14E-C27C-4B84-87D7-6E24C646B925}" dt="2022-07-20T10:07:53.014" v="2690" actId="20577"/>
          <ac:spMkLst>
            <pc:docMk/>
            <pc:sldMk cId="357386720" sldId="355"/>
            <ac:spMk id="3" creationId="{25ECF5C8-B231-B34A-F7D8-C96CD9FECAD2}"/>
          </ac:spMkLst>
        </pc:spChg>
        <pc:picChg chg="add mod ord modCrop">
          <ac:chgData name="Ewen Trafford" userId="e520b4bf-a196-48b7-bc10-b1590a457daa" providerId="ADAL" clId="{FAE4F14E-C27C-4B84-87D7-6E24C646B925}" dt="2022-07-20T10:05:34.638" v="2648" actId="1076"/>
          <ac:picMkLst>
            <pc:docMk/>
            <pc:sldMk cId="357386720" sldId="355"/>
            <ac:picMk id="5" creationId="{A5CA9058-D510-4993-A9ED-7CB8F06634CE}"/>
          </ac:picMkLst>
        </pc:picChg>
      </pc:sldChg>
      <pc:sldChg chg="modSp add mod">
        <pc:chgData name="Ewen Trafford" userId="e520b4bf-a196-48b7-bc10-b1590a457daa" providerId="ADAL" clId="{FAE4F14E-C27C-4B84-87D7-6E24C646B925}" dt="2022-07-20T14:56:56.207" v="4862" actId="20577"/>
        <pc:sldMkLst>
          <pc:docMk/>
          <pc:sldMk cId="2227979570" sldId="356"/>
        </pc:sldMkLst>
        <pc:graphicFrameChg chg="mod modGraphic">
          <ac:chgData name="Ewen Trafford" userId="e520b4bf-a196-48b7-bc10-b1590a457daa" providerId="ADAL" clId="{FAE4F14E-C27C-4B84-87D7-6E24C646B925}" dt="2022-07-20T14:56:56.207" v="4862" actId="20577"/>
          <ac:graphicFrameMkLst>
            <pc:docMk/>
            <pc:sldMk cId="2227979570" sldId="356"/>
            <ac:graphicFrameMk id="4" creationId="{852C40F4-3A0C-2C57-5C1A-53EF072895F3}"/>
          </ac:graphicFrameMkLst>
        </pc:graphicFrame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13.967"/>
    </inkml:context>
    <inkml:brush xml:id="br0">
      <inkml:brushProperty name="width" value="0.05" units="cm"/>
      <inkml:brushProperty name="height" value="0.05" units="cm"/>
      <inkml:brushProperty name="color" value="#002060"/>
    </inkml:brush>
  </inkml:definitions>
  <inkml:trace contextRef="#ctx0" brushRef="#br0">0 824 24575,'2'-22'0,"0"0"0,2 0 0,7-29 0,-4 22 0,-1 4 0,1 1 0,0-1 0,2 2 0,1-1 0,1 1 0,18-27 0,12-13 0,53-60 0,-76 104 0,1 0 0,29-23 0,47-27 0,-78 58 0,13-9 0,0 2 0,2 1 0,0 1 0,1 2 0,67-19 0,-73 27 0,-1 1 0,1 1 0,0 1 0,0 2 0,49 3 0,-63-1 0,-1 2 0,1 0 0,-1 0 0,0 1 0,0 1 0,0 0 0,11 6 0,75 52 0,-87-55 0,3 2 0,0 2 0,-1-1 0,0 1 0,-1 1 0,-1 1 0,0-1 0,16 27 0,51 91 0,-55-87 0,20 50 0,-19-24 0,17 80 0,-35-131 0,0 1 0,1-1 0,1 0 0,11 19 0,-3-11 0,38 49 0,-16-25 0,59 103 0,-84-130 0,2-2 0,0 1 0,1-2 0,28 28 0,-34-39 0,0 0 0,1-1 0,1 0 0,-1-1 0,1 0 0,1-1 0,-1-1 0,1 0 0,0 0 0,17 3 0,-2-2 0,0-2 0,0-1 0,0-2 0,0 0 0,1-2 0,-1-1 0,0-2 0,0 0 0,0-2 0,50-15 0,-65 15 0,-1 0 0,0-1 0,0 0 0,15-11 0,42-36 0,-23 17 0,-18 15 0,-1-1 0,0-1 0,29-35 0,91-105 0,-122 135 0,0-1 0,-3-2 0,26-43 0,-48 74-21,3-5-147,0 0 0,0 0 0,1 0 0,-1 0 0,1 1 0,0-1 0,8-5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42.260"/>
    </inkml:context>
    <inkml:brush xml:id="br0">
      <inkml:brushProperty name="width" value="0.05" units="cm"/>
      <inkml:brushProperty name="height" value="0.05" units="cm"/>
      <inkml:brushProperty name="color" value="#002060"/>
    </inkml:brush>
  </inkml:definitions>
  <inkml:trace contextRef="#ctx0" brushRef="#br0">542 0 24575,'-3'10'0,"1"-8"0,1 1 0,-1-1 0,0 1 0,0-1 0,0 0 0,0 0 0,-1 0 0,1 0 0,-1 0 0,1 0 0,-1-1 0,1 1 0,-1-1 0,-5 2 0,-3 1 0,-1-1 0,-17 3 0,7-2 0,-11 5 0,-49 20 0,80-28 0,-15 6 0,-1 2 0,-25 15 0,-29 26 0,72-50 0,-118 75 0,92-59 0,25-16-59,0 1 0,0-1-1,0 1 1,0-1-1,1 1 1,-1 0 0,0-1-1,0 1 1,0 0 0,1 0-1,-1-1 1,0 1 0,1 0-1,-1 0 1,1 0 0,-1 0-1,1 0 1,-1 0-1,1 0 1,0 0 0,-1 0-1,1 1 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44.590"/>
    </inkml:context>
    <inkml:brush xml:id="br0">
      <inkml:brushProperty name="width" value="0.05" units="cm"/>
      <inkml:brushProperty name="height" value="0.05" units="cm"/>
      <inkml:brushProperty name="color" value="#002060"/>
    </inkml:brush>
  </inkml:definitions>
  <inkml:trace contextRef="#ctx0" brushRef="#br0">0 375 24575,'1'-11'0,"0"5"0,1-1 0,-1 1 0,1 0 0,1 0 0,4-8 0,63-95 0,-4 8 0,-55 81 0,2 1 0,0 1 0,28-30 0,-37 44-1365</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46.565"/>
    </inkml:context>
    <inkml:brush xml:id="br0">
      <inkml:brushProperty name="width" value="0.05" units="cm"/>
      <inkml:brushProperty name="height" value="0.05" units="cm"/>
      <inkml:brushProperty name="color" value="#002060"/>
    </inkml:brush>
  </inkml:definitions>
  <inkml:trace contextRef="#ctx0" brushRef="#br0">495 29 24575,'-11'2'0,"-2"-1"0,0 0 0,-22-2 0,20 1 0,-8-2 0,-1-1 0,-31-7 0,28 4 0,-31-3 0,-95 7 0,89 3 0,60-1-1365</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47.808"/>
    </inkml:context>
    <inkml:brush xml:id="br0">
      <inkml:brushProperty name="width" value="0.05" units="cm"/>
      <inkml:brushProperty name="height" value="0.05" units="cm"/>
      <inkml:brushProperty name="color" value="#002060"/>
    </inkml:brush>
  </inkml:definitions>
  <inkml:trace contextRef="#ctx0" brushRef="#br0">216 236 24575,'0'0'0,"0"0"0,0 0 0,0 0 0,0 0 0,0 0 0,-1-3 0,0 0 0,0 0 0,1 1 0,-2-1 0,1 0 0,0 0 0,-4-4 0,2 1 0,-4-4 0,0-1 0,-1 1 0,0 1 0,-1-1 0,0 1 0,-11-8 0,8 7 0,0-1 0,1-1 0,-12-14 0,15 14 60,-16-16 0,21 25-209,0 0 1,-1 0-1,1 0 1,-1 0-1,1 1 1,-1 0-1,0-1 1,0 1-1,-7-2 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15.945"/>
    </inkml:context>
    <inkml:brush xml:id="br0">
      <inkml:brushProperty name="width" value="0.05" units="cm"/>
      <inkml:brushProperty name="height" value="0.05" units="cm"/>
      <inkml:brushProperty name="color" value="#002060"/>
    </inkml:brush>
  </inkml:definitions>
  <inkml:trace contextRef="#ctx0" brushRef="#br0">544 0 24575,'-1'1'0,"1"-1"0,-1 0 0,0 0 0,0 1 0,0-1 0,1 1 0,-1-1 0,0 1 0,0-1 0,1 1 0,-1-1 0,0 1 0,1 0 0,-1 0 0,0 0 0,-16 16 0,-20 28 0,-3 3 0,-160 137 0,37-71 0,156-110 0,5-3 0,1-1 0,-1 1 0,1 0 0,0 0 0,-1 0 0,1 0 0,0 0 0,0 0 0,0 0 0,0 1 0,0-1 0,-2 3 0,0 1 0,-1 1 0,-7 8 0,-7 11 0,4-2-136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17.437"/>
    </inkml:context>
    <inkml:brush xml:id="br0">
      <inkml:brushProperty name="width" value="0.05" units="cm"/>
      <inkml:brushProperty name="height" value="0.05" units="cm"/>
      <inkml:brushProperty name="color" value="#002060"/>
    </inkml:brush>
  </inkml:definitions>
  <inkml:trace contextRef="#ctx0" brushRef="#br0">0 289 24575,'6'-14'0,"4"-3"0,-2 1 0,1 0 0,1 1 0,1 0 0,0 1 0,21-21 0,-11 17 0,1 0 0,1 2 0,0 1 0,1 1 0,0 1 0,43-16 0,-51 24 0,1 0 0,-1 1 0,1 0 0,0 2 0,0 0 0,1 1 0,-1 1 0,27 2 0,-38-1 0,0 1 0,0 0 0,0 0 0,-1 0 0,1 1 0,-1-1 0,9 6 0,34 29 0,-18-13 0,-20-16 0,47 37 0,-48-37 0,-1 0 0,0 1 0,0 0 0,7 12 0,27 57 125,-2-3-1615</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18.508"/>
    </inkml:context>
    <inkml:brush xml:id="br0">
      <inkml:brushProperty name="width" value="0.05" units="cm"/>
      <inkml:brushProperty name="height" value="0.05" units="cm"/>
      <inkml:brushProperty name="color" value="#002060"/>
    </inkml:brush>
  </inkml:definitions>
  <inkml:trace contextRef="#ctx0" brushRef="#br0">540 41 24575,'0'-1'0,"0"0"0,0 0 0,-1 0 0,1 0 0,-1 0 0,1 0 0,-1 0 0,1 0 0,-1 1 0,0-1 0,1 0 0,-1 0 0,0 0 0,0 1 0,1-1 0,-1 0 0,0 1 0,0-1 0,-1 0 0,-19-10 0,12 8 0,0 1 0,0 0 0,-1 0 0,1 1 0,-20-1 0,-47 6 0,54-1 0,0 0 0,0 1 0,0 1 0,-40 14 0,51-13 0,0 1 0,1 0 0,0 1 0,0 0 0,-11 11 0,-12 10 0,25-22-100,-4 2-81,0 0 1,0 1-1,1 0 0,1 1 0,0 0 1,-9 14-1,14-17-6645</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20.439"/>
    </inkml:context>
    <inkml:brush xml:id="br0">
      <inkml:brushProperty name="width" value="0.05" units="cm"/>
      <inkml:brushProperty name="height" value="0.05" units="cm"/>
      <inkml:brushProperty name="color" value="#002060"/>
    </inkml:brush>
  </inkml:definitions>
  <inkml:trace contextRef="#ctx0" brushRef="#br0">1 76 24575,'0'0'0,"0"0"0,4 1 0,61 27 0,49 17 0,-97-39 0,0-2 0,0 0 0,1-1 0,-1-1 0,20 0 0,-15-3 0,0-1 0,0-1 0,0-1 0,-1 0 0,1-2 0,-1-1 0,28-12 0,31-8 0,-9 4 0,-68 22 0,1-1 0,-1 1 0,0-1 0,1 0 0,-1 0 0,0 0 0,0-1 0,0 1 0,4-5 0,-5 5 0,-1 0 0,0 0 0,0 0 0,1 0 0,-1-1 0,0 1 0,-1 0 0,1 0 0,0-1 0,-1 1 0,1-1 0,-1 1 0,0 0 0,0-1 0,0-3 0,0-5-1365</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32.521"/>
    </inkml:context>
    <inkml:brush xml:id="br0">
      <inkml:brushProperty name="width" value="0.05" units="cm"/>
      <inkml:brushProperty name="height" value="0.05" units="cm"/>
      <inkml:brushProperty name="color" value="#002060"/>
    </inkml:brush>
  </inkml:definitions>
  <inkml:trace contextRef="#ctx0" brushRef="#br0">625 0 24575,'0'0'0,"0"0"0,0 0 0,0 0 0,0 0 0,-10 8 0,-18 10 0,0-1 0,-1-1 0,-37 14 0,-50 28 0,-21 40 0,76-51 0,42-32 0,0 0 0,-20 22 0,31-29 0,1 1 0,0 0 0,0 0 0,1 1 0,1 0 0,-9 20 0,10-21 0,1 1 0,0-1 0,0 1 0,1 0 0,0 0 0,1 0 0,0 17 0,1-24 0,0 0 0,0 0 0,1 0 0,-1 0 0,1 0 0,0 0 0,-1 0 0,1 0 0,1 0 0,-1-1 0,0 1 0,1 0 0,-1-1 0,1 1 0,0-1 0,3 4 0,121 135 0,-106-119 0,0 1 0,22 34 0,-37-46 0,-5-12 0,0-6 0,0-15-1365</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33.402"/>
    </inkml:context>
    <inkml:brush xml:id="br0">
      <inkml:brushProperty name="width" value="0.05" units="cm"/>
      <inkml:brushProperty name="height" value="0.05" units="cm"/>
      <inkml:brushProperty name="color" value="#002060"/>
    </inkml:brush>
  </inkml:definitions>
  <inkml:trace contextRef="#ctx0" brushRef="#br0">493 0 24575,'-4'1'0,"0"-1"0,0 1 0,0 0 0,0 1 0,0-1 0,0 1 0,0 0 0,-5 3 0,-8 4 0,-55 20 0,-49 22 0,97-40 0,-1-3 0,-32 9 0,-17 5 0,69-20 0,0 0 0,1 1 0,-7 3 0,-13 7 0,11-10-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28.156"/>
    </inkml:context>
    <inkml:brush xml:id="br0">
      <inkml:brushProperty name="width" value="0.05" units="cm"/>
      <inkml:brushProperty name="height" value="0.05" units="cm"/>
      <inkml:brushProperty name="color" value="#002060"/>
    </inkml:brush>
  </inkml:definitions>
  <inkml:trace contextRef="#ctx0" brushRef="#br0">2883 164 24575,'1'0'0,"-1"0"0,0 0 0,0 0 0,1-1 0,-1 1 0,0 0 0,0 0 0,1-1 0,-1 1 0,0 0 0,0 0 0,0-1 0,1 1 0,-1 0 0,0 0 0,0-1 0,0 1 0,0 0 0,0-1 0,0 1 0,0 0 0,1-1 0,-1 1 0,0 0 0,0 0 0,0-1 0,0 1 0,-1 0 0,1-1 0,0 1 0,0 0 0,0-1 0,0 1 0,0 0 0,0-1 0,-5-11 0,0 7 0,0 0 0,0 0 0,0 0 0,-1 1 0,0 0 0,-11-7 0,3 3 0,2 1 0,-1 0 0,1 1 0,-1 1 0,-14-5 0,-56-11 0,68 17 0,-33-5 0,-80-7 0,-51 8 0,164 7 0,-61 0 0,-92 10 0,127-5 0,1 3 0,1 1 0,-1 1 0,-38 16 0,61-18 0,0 1 0,1 1 0,0 0 0,0 1 0,-16 15 0,-66 64 0,90-81 0,0 0 0,0 1 0,1 1 0,0-1 0,0 1 0,-7 17 0,12-23 0,0 0 0,1 1 0,-1-1 0,1 1 0,0-1 0,1 1 0,-1 0 0,1-1 0,0 1 0,0 0 0,0-1 0,1 1 0,0-1 0,0 1 0,0-1 0,0 1 0,1-1 0,0 1 0,2 3 0,12 18 0,24 27 0,-10-13 0,-4-5 0,55 55 0,-50-58 0,-1 1 0,35 52 0,-34-41 0,-7-9 0,38 70 0,-56-93 0,-1 1 0,0 0 0,-1 0 0,0 1 0,-1-1 0,-1 1 0,0 0 0,-1-1 0,-1 26 0,-2-28 0,0 1 0,0-1 0,-1 0 0,-1 0 0,0-1 0,0 1 0,-6 9 0,-47 68 0,29-47 0,16-25 0,0 0 0,-1 0 0,-1-1 0,0 0 0,-29 21 0,-6 3 0,23-17 0,-2-1 0,-34 20 0,11-13 0,-109 40 0,72-33 0,49-19 0,-77 23 0,-80-7 0,40-20 0,-2-12 0,63-1 0,70 1 0,-8-1 0,1 2 0,-63 9 0,61-4 0,14-3 0,0 2 0,0-1 0,-22 10 0,34-10 0,0 0 0,0 0 0,0 1 0,-9 8 0,-27 26 0,23-19 0,10-10 0,0 1 0,1 0 0,0 1 0,1 0 0,0 0 0,1 1 0,-10 21 0,1 6-1365,11-23-546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34.138"/>
    </inkml:context>
    <inkml:brush xml:id="br0">
      <inkml:brushProperty name="width" value="0.05" units="cm"/>
      <inkml:brushProperty name="height" value="0.05" units="cm"/>
      <inkml:brushProperty name="color" value="#002060"/>
    </inkml:brush>
  </inkml:definitions>
  <inkml:trace contextRef="#ctx0" brushRef="#br0">0 0 24457,'0'288'-1247</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37.134"/>
    </inkml:context>
    <inkml:brush xml:id="br0">
      <inkml:brushProperty name="width" value="0.05" units="cm"/>
      <inkml:brushProperty name="height" value="0.05" units="cm"/>
      <inkml:brushProperty name="color" value="#002060"/>
    </inkml:brush>
  </inkml:definitions>
  <inkml:trace contextRef="#ctx0" brushRef="#br0">0 134 24575,'0'0'0,"0"-1"0,0 0 0,0 0 0,1 1 0,-1-1 0,0 0 0,0 0 0,1 1 0,-1-1 0,0 0 0,1 1 0,0-2 0,5-6 0,1 1 0,-1 0 0,2 0 0,-1 0 0,1 1 0,0 0 0,0 0 0,0 1 0,1 0 0,10-3 0,7-3 0,0 2 0,36-9 0,-42 14 0,0 0 0,1 1 0,29 0 0,-38 3 0,-1 1 0,1 0 0,-1 0 0,0 1 0,1 1 0,-1 0 0,18 7 0,-25-8 0,1 0 0,-1 1 0,0-1 0,0 1 0,0 0 0,0 0 0,0 1 0,0-1 0,-1 1 0,0 0 0,5 8 0,-4-6 0,-1 0 0,0 0 0,-1 0 0,0 1 0,0-1 0,0 1 0,1 12 0,-2-2 0,0 1 0,-2-1 0,0 0 0,-1 0 0,-8 34 0,4-28 0,-8 40 0,13-55 0,0 0 0,0 0 0,1 0 0,0 0 0,3 15 0,-3-20 0,1 1 0,0-1 0,1 1 0,-1-1 0,0 0 0,1 1 0,0-1 0,0 0 0,0 0 0,0 0 0,0 0 0,1 0 0,-1-1 0,1 1 0,0-1 0,0 0 0,0 1 0,0-1 0,0-1 0,0 1 0,7 2 0,4 1 0,0-1 0,0-1 0,0 0 0,19 1 0,-12-2 0,8 2 0,30 4 0,-50-7 0,-1 1 0,0 1 0,-1-1 0,1 1 0,7 5 0,-11-6 0,-1 0 0,0 1 0,0-1 0,0 1 0,0 0 0,-1 0 0,1 0 0,-1 0 0,0 0 0,0 1 0,0-1 0,0 1 0,2 6 0,1 5 0,0 0 0,2 17 0,-6-28 0,8 72 0,-7-54 0,0 0 0,7 25 0,-7-40 0,0 1 0,1-1 0,0 0 0,0 0 0,1 0 0,0 0 0,0-1 0,1 0 0,-1 1 0,7 5 0,7 4 0,38 27 0,-12-10 0,-20-13-75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38.126"/>
    </inkml:context>
    <inkml:brush xml:id="br0">
      <inkml:brushProperty name="width" value="0.05" units="cm"/>
      <inkml:brushProperty name="height" value="0.05" units="cm"/>
      <inkml:brushProperty name="color" value="#002060"/>
    </inkml:brush>
  </inkml:definitions>
  <inkml:trace contextRef="#ctx0" brushRef="#br0">0 192 24575,'15'-1'0,"-2"-3"0,1-1 0,-1 0 0,14-8 0,-1 1 0,89-43 0,56-24 0,-167 77 0,0 1 0,-1-1 0,1 1 0,0 0 0,0 0 0,-1 0 0,1 0 0,4 0 0,-8 1-65,0 0 0,0-1 0,0 1 0,-1 0 0,1 0 0,0-1 0,0 1 0,0-1 0,0 1 0,0 0 0,0-1 0,0 1 0,0 0 0,0-1 0,0 1 0,0 0 0,0-1 0,0 1 0,1 0 0,-1-1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39.773"/>
    </inkml:context>
    <inkml:brush xml:id="br0">
      <inkml:brushProperty name="width" value="0.05" units="cm"/>
      <inkml:brushProperty name="height" value="0.05" units="cm"/>
      <inkml:brushProperty name="color" value="#002060"/>
    </inkml:brush>
  </inkml:definitions>
  <inkml:trace contextRef="#ctx0" brushRef="#br0">0 0 24575,'3'12'0,"5"16"0,-1 1 0,-1 1 0,3 42 0,-4 91 0,-5-85 0,3-29 0,-1 25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43.472"/>
    </inkml:context>
    <inkml:brush xml:id="br0">
      <inkml:brushProperty name="width" value="0.05" units="cm"/>
      <inkml:brushProperty name="height" value="0.05" units="cm"/>
      <inkml:brushProperty name="color" value="#002060"/>
    </inkml:brush>
  </inkml:definitions>
  <inkml:trace contextRef="#ctx0" brushRef="#br0">0 421 24575,'0'-1'0,"1"-1"0,-1 1 0,0 0 0,1-1 0,-1 1 0,1 0 0,-1 0 0,1-1 0,0 1 0,0-1 0,6-8 0,0 1 0,0 0 0,1 0 0,16-14 0,42-26 0,86-46 0,-85 54 0,-2 3 0,2 3 0,89-35 0,-153 69 0,0 0 0,0 1 0,0-1 0,0 1 0,0-1 0,0 1 0,0 0 0,5 0 0,5 1 0,-8-7 0,-5 6 0,0 0 0,0 0 0,0 0 0,0-1 0,0 1 0,0 0 0,0 0 0,0 0 0,0 0 0,1-1 0,-1 1 0,0 0 0,0 0 0,0 0 0,0 0 0,0-1 0,1 1 0,-1 0 0,0 0 0,0 0 0,0 0 0,0 0 0,1 0 0,-1 0 0,0-1 0,0 1 0,0 0 0,1 0 0,-1 0 0,0 0 0,0 0 0,0 0 0,1 0 0,6-5-1365</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44.475"/>
    </inkml:context>
    <inkml:brush xml:id="br0">
      <inkml:brushProperty name="width" value="0.05" units="cm"/>
      <inkml:brushProperty name="height" value="0.05" units="cm"/>
      <inkml:brushProperty name="color" value="#002060"/>
    </inkml:brush>
  </inkml:definitions>
  <inkml:trace contextRef="#ctx0" brushRef="#br0">1 0 24575,'0'6'0,"1"-1"0,-1 0 0,1 0 0,1 0 0,-1 0 0,1 0 0,0 0 0,0 0 0,0 0 0,0 0 0,1-1 0,0 1 0,4 4 0,43 60 0,29 44 0,-65-91 0,-2 1 0,0 0 0,11 34 0,-13-35 0,-8-19 0,0 1 0,-1 0 0,1 0 0,-1-1 0,1 1 0,-1 0 0,0 0 0,-1 0 0,1 0 0,-1 0 0,1 0 0,-2 6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4:45.155"/>
    </inkml:context>
    <inkml:brush xml:id="br0">
      <inkml:brushProperty name="width" value="0.05" units="cm"/>
      <inkml:brushProperty name="height" value="0.05" units="cm"/>
      <inkml:brushProperty name="color" value="#002060"/>
    </inkml:brush>
  </inkml:definitions>
  <inkml:trace contextRef="#ctx0" brushRef="#br0">559 1 24575,'0'0'0,"-16"0"0,-311 13 0,284-8 0,-106 6 0,149-11-26,-2 0-96,0 0 1,0 0-1,0 0 0,0 0 0,0 0 1,1 1-1,-1-1 0,0 1 0,0-1 1,-3 2-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33.940"/>
    </inkml:context>
    <inkml:brush xml:id="br0">
      <inkml:brushProperty name="width" value="0.05" units="cm"/>
      <inkml:brushProperty name="height" value="0.05" units="cm"/>
      <inkml:brushProperty name="color" value="#002060"/>
    </inkml:brush>
  </inkml:definitions>
  <inkml:trace contextRef="#ctx0" brushRef="#br0">544 0 24575,'-1'1'0,"1"-1"0,-1 0 0,0 0 0,0 1 0,0-1 0,1 1 0,-1-1 0,0 1 0,0-1 0,1 1 0,-1-1 0,0 1 0,1 0 0,-1 0 0,0 0 0,-16 16 0,-20 28 0,-3 3 0,-160 137 0,37-71 0,156-110 0,5-3 0,1-1 0,-1 1 0,1 0 0,0 0 0,-1 0 0,1 0 0,0 0 0,0 0 0,0 0 0,0 1 0,0-1 0,-2 3 0,0 1 0,-1 1 0,-7 8 0,-7 11 0,4-2-1365</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33.941"/>
    </inkml:context>
    <inkml:brush xml:id="br0">
      <inkml:brushProperty name="width" value="0.05" units="cm"/>
      <inkml:brushProperty name="height" value="0.05" units="cm"/>
      <inkml:brushProperty name="color" value="#002060"/>
    </inkml:brush>
  </inkml:definitions>
  <inkml:trace contextRef="#ctx0" brushRef="#br0">0 289 24575,'6'-14'0,"4"-3"0,-2 1 0,1 0 0,1 1 0,1 0 0,0 1 0,21-21 0,-11 17 0,1 0 0,1 2 0,0 1 0,1 1 0,0 1 0,43-16 0,-51 24 0,1 0 0,-1 1 0,1 0 0,0 2 0,0 0 0,1 1 0,-1 1 0,27 2 0,-38-1 0,0 1 0,0 0 0,0 0 0,-1 0 0,1 1 0,-1-1 0,9 6 0,34 29 0,-18-13 0,-20-16 0,47 37 0,-48-37 0,-1 0 0,0 1 0,0 0 0,7 12 0,27 57 125,-2-3-1615</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33.938"/>
    </inkml:context>
    <inkml:brush xml:id="br0">
      <inkml:brushProperty name="width" value="0.05" units="cm"/>
      <inkml:brushProperty name="height" value="0.05" units="cm"/>
      <inkml:brushProperty name="color" value="#002060"/>
    </inkml:brush>
  </inkml:definitions>
  <inkml:trace contextRef="#ctx0" brushRef="#br0">540 41 24575,'0'-1'0,"0"0"0,0 0 0,-1 0 0,1 0 0,-1 0 0,1 0 0,-1 0 0,1 0 0,-1 1 0,0-1 0,1 0 0,-1 0 0,0 0 0,0 1 0,1-1 0,-1 0 0,0 1 0,0-1 0,-1 0 0,-19-10 0,12 8 0,0 1 0,0 0 0,-1 0 0,1 1 0,-20-1 0,-47 6 0,54-1 0,0 0 0,0 1 0,0 1 0,-40 14 0,51-13 0,0 1 0,1 0 0,0 1 0,0 0 0,-11 11 0,-12 10 0,25-22-100,-4 2-81,0 0 1,0 1-1,1 0 0,1 1 0,0 0 1,-9 14-1,14-17-664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30.451"/>
    </inkml:context>
    <inkml:brush xml:id="br0">
      <inkml:brushProperty name="width" value="0.05" units="cm"/>
      <inkml:brushProperty name="height" value="0.05" units="cm"/>
      <inkml:brushProperty name="color" value="#002060"/>
    </inkml:brush>
  </inkml:definitions>
  <inkml:trace contextRef="#ctx0" brushRef="#br0">90 0 24575,'-19'26'0,"-24"36"0,38-54 0,1-1 0,1 1 0,-1 0 0,1 0 0,1 1 0,0-1 0,-2 16 0,3-18 0,1 0 0,0 0 0,1 0 0,-1 0 0,1 0 0,1 0 0,-1 0 0,1 0 0,0 0 0,0-1 0,6 11 0,48 65 0,-13-20 0,-6-7 0,14 21 0,-40-57 0,-1 1 0,9 26 0,-6-12 0,-3 2 0,9 46 0,-16-65 0,-2 1 0,1 0 0,-2 0 0,-1 0 0,0 0 0,-1 0 0,-5 18 0,3-17 0,-1-1 0,-1 1 0,-1-1 0,0 0 0,-18 29 0,-50 53 0,60-80 0,1-2-71,-22 30-1223,29-35-5532</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33.939"/>
    </inkml:context>
    <inkml:brush xml:id="br0">
      <inkml:brushProperty name="width" value="0.05" units="cm"/>
      <inkml:brushProperty name="height" value="0.05" units="cm"/>
      <inkml:brushProperty name="color" value="#002060"/>
    </inkml:brush>
  </inkml:definitions>
  <inkml:trace contextRef="#ctx0" brushRef="#br0">1 76 24575,'0'0'0,"0"0"0,4 1 0,61 27 0,49 17 0,-97-39 0,0-2 0,0 0 0,1-1 0,-1-1 0,20 0 0,-15-3 0,0-1 0,0-1 0,0-1 0,-1 0 0,1-2 0,-1-1 0,28-12 0,31-8 0,-9 4 0,-68 22 0,1-1 0,-1 1 0,0-1 0,1 0 0,-1 0 0,0 0 0,0-1 0,0 1 0,4-5 0,-5 5 0,-1 0 0,0 0 0,0 0 0,1 0 0,-1-1 0,0 1 0,-1 0 0,1 0 0,0-1 0,-1 1 0,1-1 0,-1 1 0,0 0 0,0-1 0,0-3 0,0-5-1365</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0"/>
    </inkml:context>
    <inkml:brush xml:id="br0">
      <inkml:brushProperty name="width" value="0.05" units="cm"/>
      <inkml:brushProperty name="height" value="0.05" units="cm"/>
      <inkml:brushProperty name="color" value="#002060"/>
    </inkml:brush>
  </inkml:definitions>
  <inkml:trace contextRef="#ctx0" brushRef="#br0">625 0 24575,'0'0'0,"0"0"0,0 0 0,0 0 0,0 0 0,-10 8 0,-18 10 0,0-1 0,-1-1 0,-37 14 0,-50 28 0,-21 40 0,76-51 0,42-32 0,0 0 0,-20 22 0,31-29 0,1 1 0,0 0 0,0 0 0,1 1 0,1 0 0,-9 20 0,10-21 0,1 1 0,0-1 0,0 1 0,1 0 0,0 0 0,1 0 0,0 17 0,1-24 0,0 0 0,0 0 0,1 0 0,-1 0 0,1 0 0,0 0 0,-1 0 0,1 0 0,1 0 0,-1-1 0,0 1 0,1 0 0,-1-1 0,1 1 0,0-1 0,3 4 0,121 135 0,-106-119 0,0 1 0,22 34 0,-37-46 0,-5-12 0,0-6 0,0-15-1365</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1"/>
    </inkml:context>
    <inkml:brush xml:id="br0">
      <inkml:brushProperty name="width" value="0.05" units="cm"/>
      <inkml:brushProperty name="height" value="0.05" units="cm"/>
      <inkml:brushProperty name="color" value="#002060"/>
    </inkml:brush>
  </inkml:definitions>
  <inkml:trace contextRef="#ctx0" brushRef="#br0">493 0 24575,'-4'1'0,"0"-1"0,0 1 0,0 0 0,0 1 0,0-1 0,0 1 0,0 0 0,-5 3 0,-8 4 0,-55 20 0,-49 22 0,97-40 0,-1-3 0,-32 9 0,-17 5 0,69-20 0,0 0 0,1 1 0,-7 3 0,-13 7 0,11-10-1365</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2"/>
    </inkml:context>
    <inkml:brush xml:id="br0">
      <inkml:brushProperty name="width" value="0.05" units="cm"/>
      <inkml:brushProperty name="height" value="0.05" units="cm"/>
      <inkml:brushProperty name="color" value="#002060"/>
    </inkml:brush>
  </inkml:definitions>
  <inkml:trace contextRef="#ctx0" brushRef="#br0">0 0 24457,'0'288'-1247</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6"/>
    </inkml:context>
    <inkml:brush xml:id="br0">
      <inkml:brushProperty name="width" value="0.05" units="cm"/>
      <inkml:brushProperty name="height" value="0.05" units="cm"/>
      <inkml:brushProperty name="color" value="#002060"/>
    </inkml:brush>
  </inkml:definitions>
  <inkml:trace contextRef="#ctx0" brushRef="#br0">0 134 24575,'0'0'0,"0"-1"0,0 0 0,0 0 0,1 1 0,-1-1 0,0 0 0,0 0 0,1 1 0,-1-1 0,0 0 0,1 1 0,0-2 0,5-6 0,1 1 0,-1 0 0,2 0 0,-1 0 0,1 1 0,0 0 0,0 0 0,0 1 0,1 0 0,10-3 0,7-3 0,0 2 0,36-9 0,-42 14 0,0 0 0,1 1 0,29 0 0,-38 3 0,-1 1 0,1 0 0,-1 0 0,0 1 0,1 1 0,-1 0 0,18 7 0,-25-8 0,1 0 0,-1 1 0,0-1 0,0 1 0,0 0 0,0 0 0,0 1 0,0-1 0,-1 1 0,0 0 0,5 8 0,-4-6 0,-1 0 0,0 0 0,-1 0 0,0 1 0,0-1 0,0 1 0,1 12 0,-2-2 0,0 1 0,-2-1 0,0 0 0,-1 0 0,-8 34 0,4-28 0,-8 40 0,13-55 0,0 0 0,0 0 0,1 0 0,0 0 0,3 15 0,-3-20 0,1 1 0,0-1 0,1 1 0,-1-1 0,0 0 0,1 1 0,0-1 0,0 0 0,0 0 0,0 0 0,0 0 0,1 0 0,-1-1 0,1 1 0,0-1 0,0 0 0,0 1 0,0-1 0,0-1 0,0 1 0,7 2 0,4 1 0,0-1 0,0-1 0,0 0 0,19 1 0,-12-2 0,8 2 0,30 4 0,-50-7 0,-1 1 0,0 1 0,-1-1 0,1 1 0,7 5 0,-11-6 0,-1 0 0,0 1 0,0-1 0,0 1 0,0 0 0,-1 0 0,1 0 0,-1 0 0,0 0 0,0 1 0,0-1 0,0 1 0,2 6 0,1 5 0,0 0 0,2 17 0,-6-28 0,8 72 0,-7-54 0,0 0 0,7 25 0,-7-40 0,0 1 0,1-1 0,0 0 0,0 0 0,1 0 0,0 0 0,0-1 0,1 0 0,-1 1 0,7 5 0,7 4 0,38 27 0,-12-10 0,-20-13-756</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7"/>
    </inkml:context>
    <inkml:brush xml:id="br0">
      <inkml:brushProperty name="width" value="0.05" units="cm"/>
      <inkml:brushProperty name="height" value="0.05" units="cm"/>
      <inkml:brushProperty name="color" value="#002060"/>
    </inkml:brush>
  </inkml:definitions>
  <inkml:trace contextRef="#ctx0" brushRef="#br0">0 192 24575,'15'-1'0,"-2"-3"0,1-1 0,-1 0 0,14-8 0,-1 1 0,89-43 0,56-24 0,-167 77 0,0 1 0,-1-1 0,1 1 0,0 0 0,0 0 0,-1 0 0,1 0 0,4 0 0,-8 1-65,0 0 0,0-1 0,0 1 0,-1 0 0,1 0 0,0-1 0,0 1 0,0-1 0,0 1 0,0 0 0,0-1 0,0 1 0,0 0 0,0-1 0,0 1 0,0 0 0,0-1 0,0 1 0,1 0 0,-1-1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8"/>
    </inkml:context>
    <inkml:brush xml:id="br0">
      <inkml:brushProperty name="width" value="0.05" units="cm"/>
      <inkml:brushProperty name="height" value="0.05" units="cm"/>
      <inkml:brushProperty name="color" value="#002060"/>
    </inkml:brush>
  </inkml:definitions>
  <inkml:trace contextRef="#ctx0" brushRef="#br0">0 0 24575,'3'12'0,"5"16"0,-1 1 0,-1 1 0,3 42 0,-4 91 0,-5-85 0,3-29 0,-1 25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3"/>
    </inkml:context>
    <inkml:brush xml:id="br0">
      <inkml:brushProperty name="width" value="0.05" units="cm"/>
      <inkml:brushProperty name="height" value="0.05" units="cm"/>
      <inkml:brushProperty name="color" value="#002060"/>
    </inkml:brush>
  </inkml:definitions>
  <inkml:trace contextRef="#ctx0" brushRef="#br0">0 421 24575,'0'-1'0,"1"-1"0,-1 1 0,0 0 0,1-1 0,-1 1 0,1 0 0,-1 0 0,1-1 0,0 1 0,0-1 0,6-8 0,0 1 0,0 0 0,1 0 0,16-14 0,42-26 0,86-46 0,-85 54 0,-2 3 0,2 3 0,89-35 0,-153 69 0,0 0 0,0 1 0,0-1 0,0 1 0,0-1 0,0 1 0,0 0 0,5 0 0,5 1 0,-8-7 0,-5 6 0,0 0 0,0 0 0,0 0 0,0-1 0,0 1 0,0 0 0,0 0 0,0 0 0,0 0 0,1-1 0,-1 1 0,0 0 0,0 0 0,0 0 0,0 0 0,0-1 0,1 1 0,-1 0 0,0 0 0,0 0 0,0 0 0,0 0 0,1 0 0,-1 0 0,0-1 0,0 1 0,0 0 0,1 0 0,-1 0 0,0 0 0,0 0 0,0 0 0,1 0 0,6-5-1365</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4"/>
    </inkml:context>
    <inkml:brush xml:id="br0">
      <inkml:brushProperty name="width" value="0.05" units="cm"/>
      <inkml:brushProperty name="height" value="0.05" units="cm"/>
      <inkml:brushProperty name="color" value="#002060"/>
    </inkml:brush>
  </inkml:definitions>
  <inkml:trace contextRef="#ctx0" brushRef="#br0">1 0 24575,'0'6'0,"1"-1"0,-1 0 0,1 0 0,1 0 0,-1 0 0,1 0 0,0 0 0,0 0 0,0 0 0,0 0 0,1-1 0,0 1 0,4 4 0,43 60 0,29 44 0,-65-91 0,-2 1 0,0 0 0,11 34 0,-13-35 0,-8-19 0,0 1 0,-1 0 0,1 0 0,-1-1 0,1 1 0,-1 0 0,0 0 0,-1 0 0,1 0 0,-1 0 0,1 0 0,-2 6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8:18:49.315"/>
    </inkml:context>
    <inkml:brush xml:id="br0">
      <inkml:brushProperty name="width" value="0.05" units="cm"/>
      <inkml:brushProperty name="height" value="0.05" units="cm"/>
      <inkml:brushProperty name="color" value="#002060"/>
    </inkml:brush>
  </inkml:definitions>
  <inkml:trace contextRef="#ctx0" brushRef="#br0">559 1 24575,'0'0'0,"-16"0"0,-311 13 0,284-8 0,-106 6 0,149-11-26,-2 0-96,0 0 1,0 0-1,0 0 0,0 0 0,0 0 1,1 1-1,-1-1 0,0 1 0,0-1 1,-3 2-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34.147"/>
    </inkml:context>
    <inkml:brush xml:id="br0">
      <inkml:brushProperty name="width" value="0.05" units="cm"/>
      <inkml:brushProperty name="height" value="0.05" units="cm"/>
      <inkml:brushProperty name="color" value="#002060"/>
    </inkml:brush>
  </inkml:definitions>
  <inkml:trace contextRef="#ctx0" brushRef="#br0">1087 981 24575,'0'0'0,"3"-7"0,-1 2 0,0 0 0,0 0 0,0-1 0,-1 1 0,1 0 0,-1-1 0,-1 1 0,1-1 0,-1 1 0,0-1 0,0 1 0,-1-1 0,-1-7 0,-4-23 0,3 16 0,-11-36 0,9 44 0,0 1 0,0 0 0,-2-1 0,1 2 0,-1-1 0,-17-18 0,1 5 0,-39-31 0,52 48 0,1 0 0,-1 1 0,-1 0 0,-11-5 0,-47-15 0,21 7 0,-182-53 0,188 60 0,16 5 0,0-2 0,0-1 0,-37-19 0,-41-33 0,89 52 0,1-1 0,0-1 0,0-1 0,-17-20 0,-45-64 0,60 73 0,0-1 0,-14-31 0,28 52-195,0-1 0,0 0 0,1 0 0,-1 0 0,1-1 0,0-4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36.181"/>
    </inkml:context>
    <inkml:brush xml:id="br0">
      <inkml:brushProperty name="width" value="0.05" units="cm"/>
      <inkml:brushProperty name="height" value="0.05" units="cm"/>
      <inkml:brushProperty name="color" value="#002060"/>
    </inkml:brush>
  </inkml:definitions>
  <inkml:trace contextRef="#ctx0" brushRef="#br0">81 0 24575,'-2'4'0,"-15"19"0,5-7 0,6-7 0,2-1 0,-1 1 0,-5 18 0,-5 29 0,14-51 0,-3 10 0,2 1 0,-1 23 0,4 31 0,0-56 0,-1-4 0,1 0 0,1 0 0,-1 0 0,2 0 0,0 0 0,0-1 0,1 0 0,0 1 0,0-1 0,1 0 0,1-1 0,-1 1 0,1-1 0,15 15 0,64 63 0,-7-13 0,-44-44 0,55 65 0,15 23 0,-101-114 0,11 9 0,-2 2 0,1 0 0,-1 0 0,14 24 0,44 67 0,-64-96 0,0 1 0,-1-1 0,0 1 0,0 0 0,-1 1 0,0-1 0,-1 1 0,3 18 0,-3-6 0,-2 1 0,-2 46 0,1-58-1365,-1-2-546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38.237"/>
    </inkml:context>
    <inkml:brush xml:id="br0">
      <inkml:brushProperty name="width" value="0.05" units="cm"/>
      <inkml:brushProperty name="height" value="0.05" units="cm"/>
      <inkml:brushProperty name="color" value="#002060"/>
    </inkml:brush>
  </inkml:definitions>
  <inkml:trace contextRef="#ctx0" brushRef="#br0">3 15 24575,'0'-1'0,"0"0"0,-1 1 0,1-1 0,-1 0 0,1 1 0,0-1 0,0 0 0,-1 0 0,1 1 0,0-1 0,0 0 0,0 0 0,0 0 0,0 1 0,0-1 0,0-2 0,14 3 0,0 0 0,0 1 0,0 0 0,0 1 0,20 5 0,65 25 0,-84-26 0,-5-3 0,1 2 0,-1-1 0,0 1 0,0 1 0,0 0 0,-1 0 0,0 1 0,14 13 0,-11-10-273,0 0 0,0 0 0,1-1 0,17 8 0,-22-13-655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38.993"/>
    </inkml:context>
    <inkml:brush xml:id="br0">
      <inkml:brushProperty name="width" value="0.05" units="cm"/>
      <inkml:brushProperty name="height" value="0.05" units="cm"/>
      <inkml:brushProperty name="color" value="#002060"/>
    </inkml:brush>
  </inkml:definitions>
  <inkml:trace contextRef="#ctx0" brushRef="#br0">427 0 24575,'-2'0'0,"0"0"0,0 1 0,0-1 0,1 1 0,-1-1 0,0 1 0,0 0 0,1-1 0,-1 1 0,-2 2 0,-16 11 0,14-9 0,-30 22 0,-75 42 0,95-61 0,1 1 0,1 0 0,-26 21 0,6-1 0,-64 44 0,83-62-136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40.024"/>
    </inkml:context>
    <inkml:brush xml:id="br0">
      <inkml:brushProperty name="width" value="0.05" units="cm"/>
      <inkml:brushProperty name="height" value="0.05" units="cm"/>
      <inkml:brushProperty name="color" value="#002060"/>
    </inkml:brush>
  </inkml:definitions>
  <inkml:trace contextRef="#ctx0" brushRef="#br0">13 0 24575,'-3'5'0,"1"0"0,0 0 0,1 1 0,-1-1 0,1 0 0,0 1 0,1-1 0,-1 1 0,1-1 0,0 0 0,0 1 0,2 7 0,2 7 0,13 37 0,-13-44 0,4 10-94,-1-1-542,7 33 1,-12-48-6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10T07:40:41.518"/>
    </inkml:context>
    <inkml:brush xml:id="br0">
      <inkml:brushProperty name="width" value="0.05" units="cm"/>
      <inkml:brushProperty name="height" value="0.05" units="cm"/>
      <inkml:brushProperty name="color" value="#002060"/>
    </inkml:brush>
  </inkml:definitions>
  <inkml:trace contextRef="#ctx0" brushRef="#br0">0 0 24575,'10'5'0,"4"3"0,19 5 0,-15-5 0,21 10 0,-33-15 0,-1 0 0,0 1 0,1-1 0,-1 1 0,-1 0 0,1 1 0,0-1 0,-1 1 0,0 0 0,0 0 0,-1 0 0,1 0 0,-1 1 0,-1-1 0,5 11 0,2 10 0,1 0 0,1-1 0,15 25 0,-25-48 0,0 0 0,0 0 0,0 0 0,0 0 0,-1 0 0,1 0 0,-1 0 0,1 3 0,1 8 0,1-7-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3</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1580211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6" Type="http://schemas.openxmlformats.org/officeDocument/2006/relationships/image" Target="../media/image29.png"/><Relationship Id="rId21" Type="http://schemas.openxmlformats.org/officeDocument/2006/relationships/customXml" Target="../ink/ink10.xml"/><Relationship Id="rId42" Type="http://schemas.openxmlformats.org/officeDocument/2006/relationships/image" Target="../media/image37.png"/><Relationship Id="rId47" Type="http://schemas.openxmlformats.org/officeDocument/2006/relationships/customXml" Target="../ink/ink23.xml"/><Relationship Id="rId63" Type="http://schemas.openxmlformats.org/officeDocument/2006/relationships/customXml" Target="../ink/ink35.xml"/><Relationship Id="rId68" Type="http://schemas.openxmlformats.org/officeDocument/2006/relationships/image" Target="../media/image15.png"/><Relationship Id="rId7" Type="http://schemas.openxmlformats.org/officeDocument/2006/relationships/customXml" Target="../ink/ink3.xml"/><Relationship Id="rId2" Type="http://schemas.openxmlformats.org/officeDocument/2006/relationships/notesSlide" Target="../notesSlides/notesSlide2.xml"/><Relationship Id="rId16" Type="http://schemas.openxmlformats.org/officeDocument/2006/relationships/image" Target="../media/image24.png"/><Relationship Id="rId29" Type="http://schemas.openxmlformats.org/officeDocument/2006/relationships/customXml" Target="../ink/ink14.xml"/><Relationship Id="rId11" Type="http://schemas.openxmlformats.org/officeDocument/2006/relationships/customXml" Target="../ink/ink5.xml"/><Relationship Id="rId24" Type="http://schemas.openxmlformats.org/officeDocument/2006/relationships/image" Target="../media/image28.png"/><Relationship Id="rId32" Type="http://schemas.openxmlformats.org/officeDocument/2006/relationships/image" Target="../media/image32.png"/><Relationship Id="rId37" Type="http://schemas.openxmlformats.org/officeDocument/2006/relationships/customXml" Target="../ink/ink18.xml"/><Relationship Id="rId40" Type="http://schemas.openxmlformats.org/officeDocument/2006/relationships/image" Target="../media/image36.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customXml" Target="../ink/ink30.xml"/><Relationship Id="rId66" Type="http://schemas.openxmlformats.org/officeDocument/2006/relationships/customXml" Target="../ink/ink38.xml"/><Relationship Id="rId5" Type="http://schemas.openxmlformats.org/officeDocument/2006/relationships/customXml" Target="../ink/ink2.xml"/><Relationship Id="rId61" Type="http://schemas.openxmlformats.org/officeDocument/2006/relationships/customXml" Target="../ink/ink33.xml"/><Relationship Id="rId19" Type="http://schemas.openxmlformats.org/officeDocument/2006/relationships/customXml" Target="../ink/ink9.xml"/><Relationship Id="rId14" Type="http://schemas.openxmlformats.org/officeDocument/2006/relationships/image" Target="../media/image23.png"/><Relationship Id="rId22" Type="http://schemas.openxmlformats.org/officeDocument/2006/relationships/image" Target="../media/image27.png"/><Relationship Id="rId27" Type="http://schemas.openxmlformats.org/officeDocument/2006/relationships/customXml" Target="../ink/ink13.xml"/><Relationship Id="rId30" Type="http://schemas.openxmlformats.org/officeDocument/2006/relationships/image" Target="../media/image31.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40.png"/><Relationship Id="rId56" Type="http://schemas.openxmlformats.org/officeDocument/2006/relationships/customXml" Target="../ink/ink28.xml"/><Relationship Id="rId64" Type="http://schemas.openxmlformats.org/officeDocument/2006/relationships/customXml" Target="../ink/ink36.xml"/><Relationship Id="rId69" Type="http://schemas.openxmlformats.org/officeDocument/2006/relationships/image" Target="../media/image14.png"/><Relationship Id="rId8" Type="http://schemas.openxmlformats.org/officeDocument/2006/relationships/image" Target="../media/image20.png"/><Relationship Id="rId51" Type="http://schemas.openxmlformats.org/officeDocument/2006/relationships/customXml" Target="../ink/ink25.xml"/><Relationship Id="rId3" Type="http://schemas.openxmlformats.org/officeDocument/2006/relationships/customXml" Target="../ink/ink1.xml"/><Relationship Id="rId12" Type="http://schemas.openxmlformats.org/officeDocument/2006/relationships/image" Target="../media/image22.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35.png"/><Relationship Id="rId46" Type="http://schemas.openxmlformats.org/officeDocument/2006/relationships/image" Target="../media/image39.png"/><Relationship Id="rId59" Type="http://schemas.openxmlformats.org/officeDocument/2006/relationships/customXml" Target="../ink/ink31.xml"/><Relationship Id="rId67" Type="http://schemas.openxmlformats.org/officeDocument/2006/relationships/customXml" Target="../ink/ink39.xml"/><Relationship Id="rId20" Type="http://schemas.openxmlformats.org/officeDocument/2006/relationships/image" Target="../media/image26.png"/><Relationship Id="rId41" Type="http://schemas.openxmlformats.org/officeDocument/2006/relationships/customXml" Target="../ink/ink20.xml"/><Relationship Id="rId54" Type="http://schemas.openxmlformats.org/officeDocument/2006/relationships/image" Target="../media/image43.png"/><Relationship Id="rId62" Type="http://schemas.openxmlformats.org/officeDocument/2006/relationships/customXml" Target="../ink/ink34.xml"/><Relationship Id="rId1" Type="http://schemas.openxmlformats.org/officeDocument/2006/relationships/slideLayout" Target="../slideLayouts/slideLayout3.xml"/><Relationship Id="rId6" Type="http://schemas.openxmlformats.org/officeDocument/2006/relationships/image" Target="../media/image19.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30.png"/><Relationship Id="rId36" Type="http://schemas.openxmlformats.org/officeDocument/2006/relationships/image" Target="../media/image34.png"/><Relationship Id="rId49" Type="http://schemas.openxmlformats.org/officeDocument/2006/relationships/customXml" Target="../ink/ink24.xml"/><Relationship Id="rId57" Type="http://schemas.openxmlformats.org/officeDocument/2006/relationships/customXml" Target="../ink/ink29.xml"/><Relationship Id="rId10" Type="http://schemas.openxmlformats.org/officeDocument/2006/relationships/image" Target="../media/image21.png"/><Relationship Id="rId31" Type="http://schemas.openxmlformats.org/officeDocument/2006/relationships/customXml" Target="../ink/ink15.xml"/><Relationship Id="rId44" Type="http://schemas.openxmlformats.org/officeDocument/2006/relationships/image" Target="../media/image38.png"/><Relationship Id="rId52" Type="http://schemas.openxmlformats.org/officeDocument/2006/relationships/image" Target="../media/image42.png"/><Relationship Id="rId60" Type="http://schemas.openxmlformats.org/officeDocument/2006/relationships/customXml" Target="../ink/ink32.xml"/><Relationship Id="rId65" Type="http://schemas.openxmlformats.org/officeDocument/2006/relationships/customXml" Target="../ink/ink37.xml"/><Relationship Id="rId4" Type="http://schemas.openxmlformats.org/officeDocument/2006/relationships/image" Target="../media/image18.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25.png"/><Relationship Id="rId39" Type="http://schemas.openxmlformats.org/officeDocument/2006/relationships/customXml" Target="../ink/ink19.xml"/><Relationship Id="rId34" Type="http://schemas.openxmlformats.org/officeDocument/2006/relationships/image" Target="../media/image33.png"/><Relationship Id="rId50" Type="http://schemas.openxmlformats.org/officeDocument/2006/relationships/image" Target="../media/image41.png"/><Relationship Id="rId55" Type="http://schemas.openxmlformats.org/officeDocument/2006/relationships/customXml" Target="../ink/ink27.xml"/></Relationships>
</file>

<file path=ppt/slides/_rels/slide22.xml.rels><?xml version="1.0" encoding="UTF-8" standalone="yes"?>
<Relationships xmlns="http://schemas.openxmlformats.org/package/2006/relationships"><Relationship Id="rId8" Type="http://schemas.openxmlformats.org/officeDocument/2006/relationships/hyperlink" Target="https://www.foodafactoflife.org.uk/media/5349/carbohydrates-ws-1416c.docx" TargetMode="External"/><Relationship Id="rId3" Type="http://schemas.openxmlformats.org/officeDocument/2006/relationships/hyperlink" Target="https://www.foodafactoflife.org.uk/media/6616/the-science-of-red-meat-ppt-1416fcm.pptx" TargetMode="External"/><Relationship Id="rId7" Type="http://schemas.openxmlformats.org/officeDocument/2006/relationships/hyperlink" Target="https://www.foodafactoflife.org.uk/media/5316/carbohydrates-ppt-1416cdocx.pptx" TargetMode="External"/><Relationship Id="rId2" Type="http://schemas.openxmlformats.org/officeDocument/2006/relationships/hyperlink" Target="https://www.foodafactoflife.org.uk/media/5029/maillard-reaction.doc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6148/functional-properties-overview-ppt-1416c.pptx" TargetMode="External"/><Relationship Id="rId5" Type="http://schemas.openxmlformats.org/officeDocument/2006/relationships/hyperlink" Target="https://www.foodafactoflife.org.uk/media/5024/caramelisation.docx" TargetMode="External"/><Relationship Id="rId4" Type="http://schemas.openxmlformats.org/officeDocument/2006/relationships/hyperlink" Target="https://www.foodafactoflife.org.uk/media/6163/dry-heat-ppt-1114c2.pptx"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foodafactoflife.org.uk/14-16-years/food-science/" TargetMode="External"/><Relationship Id="rId3" Type="http://schemas.openxmlformats.org/officeDocument/2006/relationships/hyperlink" Target="https://www.ifst.org/lovefoodlovescience/resources/carbohydrates-caramelisation" TargetMode="External"/><Relationship Id="rId7" Type="http://schemas.openxmlformats.org/officeDocument/2006/relationships/hyperlink" Target="https://foodafactoflife.org.uk/11-14-years/cooking/ingredients/" TargetMode="External"/><Relationship Id="rId2" Type="http://schemas.openxmlformats.org/officeDocument/2006/relationships/hyperlink" Target="https://www.ifst.org/lovefoodlovescience/resources/carbohydrates-dextrinization" TargetMode="External"/><Relationship Id="rId1" Type="http://schemas.openxmlformats.org/officeDocument/2006/relationships/slideLayout" Target="../slideLayouts/slideLayout3.xml"/><Relationship Id="rId6" Type="http://schemas.openxmlformats.org/officeDocument/2006/relationships/hyperlink" Target="https://edu.rsc.org/resources/chemical-changes-during-cooking/817.article" TargetMode="External"/><Relationship Id="rId11" Type="http://schemas.openxmlformats.org/officeDocument/2006/relationships/hyperlink" Target="https://foodafactoflife.org.uk/media/9836/ingredients-functional-characteristics-ko-11-14c.docx" TargetMode="External"/><Relationship Id="rId5" Type="http://schemas.openxmlformats.org/officeDocument/2006/relationships/hyperlink" Target="https://edu.rsc.org/resources/the-great-chemistry-cook-off/4011058.article" TargetMode="External"/><Relationship Id="rId10" Type="http://schemas.openxmlformats.org/officeDocument/2006/relationships/hyperlink" Target="https://www.foodafactoflife.org.uk/14-16-years/food-science/" TargetMode="External"/><Relationship Id="rId4" Type="http://schemas.openxmlformats.org/officeDocument/2006/relationships/hyperlink" Target="https://edu.rsc.org/feature/whats-cooking/4011054.artic" TargetMode="External"/><Relationship Id="rId9" Type="http://schemas.openxmlformats.org/officeDocument/2006/relationships/hyperlink" Target="https://www.foodafactoflife.org.uk/11-14-years/cooking/ingredients/#fun"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www.foodafactoflife.org.uk/recipes/11-14-l2c/quick-bread-buns/" TargetMode="External"/><Relationship Id="rId7" Type="http://schemas.openxmlformats.org/officeDocument/2006/relationships/hyperlink" Target="https://www.foodafactoflife.org.uk/recipes/" TargetMode="External"/><Relationship Id="rId2" Type="http://schemas.openxmlformats.org/officeDocument/2006/relationships/hyperlink" Target="https://www.foodafactoflife.org.uk/recipes/meat/new-meat-recipes/alfresco-beef-kebabs/" TargetMode="External"/><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hyperlink" Target="https://www.foodafactoflife.org.uk/recipes/food-life-skills/fish-pie/" TargetMode="External"/><Relationship Id="rId4" Type="http://schemas.openxmlformats.org/officeDocument/2006/relationships/hyperlink" Target="https://www.foodafactoflife.org.uk/recipes/breakfast/devilled-tomatoes-on-toast/"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video" Target="https://www.youtube.com/embed/2cRbD9H0j4I?feature=oembed"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Non-enzymic browning</a:t>
            </a:r>
            <a:endParaRPr lang="en-US" sz="320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1890987527"/>
              </p:ext>
            </p:extLst>
          </p:nvPr>
        </p:nvGraphicFramePr>
        <p:xfrm>
          <a:off x="1130613" y="2073921"/>
          <a:ext cx="9930774" cy="4569956"/>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456178">
                <a:tc>
                  <a:txBody>
                    <a:bodyPr/>
                    <a:lstStyle/>
                    <a:p>
                      <a:pPr algn="ctr"/>
                      <a:r>
                        <a:rPr lang="en-US" sz="1800" dirty="0">
                          <a:latin typeface="Arial" panose="020B0604020202020204" pitchFamily="34" charset="0"/>
                          <a:cs typeface="Arial" panose="020B0604020202020204" pitchFamily="34" charset="0"/>
                        </a:rPr>
                        <a:t>Key word</a:t>
                      </a:r>
                    </a:p>
                  </a:txBody>
                  <a:tcPr anchor="ctr"/>
                </a:tc>
                <a:tc>
                  <a:txBody>
                    <a:bodyPr/>
                    <a:lstStyle/>
                    <a:p>
                      <a:r>
                        <a:rPr lang="en-US" sz="1800">
                          <a:latin typeface="Arial"/>
                        </a:rPr>
                        <a:t>Meaning</a:t>
                      </a:r>
                    </a:p>
                  </a:txBody>
                  <a:tcPr anchor="ctr"/>
                </a:tc>
                <a:extLst>
                  <a:ext uri="{0D108BD9-81ED-4DB2-BD59-A6C34878D82A}">
                    <a16:rowId xmlns:a16="http://schemas.microsoft.com/office/drawing/2014/main" val="475827214"/>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amino acid</a:t>
                      </a:r>
                    </a:p>
                  </a:txBody>
                  <a:tcPr marL="6350" marR="6350" marT="6350" marB="0" anchor="ctr"/>
                </a:tc>
                <a:tc>
                  <a:txBody>
                    <a:bodyPr/>
                    <a:lstStyle/>
                    <a:p>
                      <a:r>
                        <a:rPr lang="en-GB" sz="1800" dirty="0">
                          <a:latin typeface="Arial" panose="020B0604020202020204" pitchFamily="34" charset="0"/>
                          <a:cs typeface="Arial" panose="020B0604020202020204" pitchFamily="34" charset="0"/>
                        </a:rPr>
                        <a:t>The units from which proteins are constructed. There are nine ‘essential’ or ‘indispensable’ amino acids, which can only be obtained through the diet.</a:t>
                      </a:r>
                    </a:p>
                  </a:txBody>
                  <a:tcPr anchor="ctr"/>
                </a:tc>
                <a:extLst>
                  <a:ext uri="{0D108BD9-81ED-4DB2-BD59-A6C34878D82A}">
                    <a16:rowId xmlns:a16="http://schemas.microsoft.com/office/drawing/2014/main" val="1223495877"/>
                  </a:ext>
                </a:extLst>
              </a:tr>
              <a:tr h="456178">
                <a:tc>
                  <a:txBody>
                    <a:bodyPr/>
                    <a:lstStyle/>
                    <a:p>
                      <a:pPr algn="ctr" fontAlgn="b"/>
                      <a:r>
                        <a:rPr lang="en-GB" sz="1800" b="1" i="0" u="none" strike="noStrike">
                          <a:solidFill>
                            <a:srgbClr val="000000"/>
                          </a:solidFill>
                          <a:effectLst/>
                          <a:latin typeface="Arial" panose="020B0604020202020204" pitchFamily="34" charset="0"/>
                          <a:cs typeface="Arial" panose="020B0604020202020204" pitchFamily="34" charset="0"/>
                        </a:rPr>
                        <a:t>caramelisation</a:t>
                      </a:r>
                    </a:p>
                  </a:txBody>
                  <a:tcPr marL="6350" marR="6350" marT="6350" marB="0" anchor="ctr"/>
                </a:tc>
                <a:tc>
                  <a:txBody>
                    <a:bodyPr/>
                    <a:lstStyle/>
                    <a:p>
                      <a:pPr lvl="0">
                        <a:buNone/>
                      </a:pPr>
                      <a:r>
                        <a:rPr lang="en-GB" sz="1800" b="0" dirty="0">
                          <a:latin typeface="Arial" panose="020B0604020202020204" pitchFamily="34" charset="0"/>
                          <a:cs typeface="Arial" panose="020B0604020202020204" pitchFamily="34" charset="0"/>
                        </a:rPr>
                        <a:t>The chemical change of heated sucrose (table sugar) to caramel, which produces flavour and browning. Caramelisation is a type of non-enzymic browning reaction.</a:t>
                      </a: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10399103"/>
                  </a:ext>
                </a:extLst>
              </a:tr>
              <a:tr h="456178">
                <a:tc>
                  <a:txBody>
                    <a:bodyPr/>
                    <a:lstStyle/>
                    <a:p>
                      <a:pPr algn="ctr" fontAlgn="b"/>
                      <a:r>
                        <a:rPr lang="en-GB" sz="1800" b="1" i="0" u="none" strike="noStrike" dirty="0" err="1">
                          <a:solidFill>
                            <a:srgbClr val="000000"/>
                          </a:solidFill>
                          <a:effectLst/>
                          <a:latin typeface="Arial" panose="020B0604020202020204" pitchFamily="34" charset="0"/>
                          <a:cs typeface="Arial" panose="020B0604020202020204" pitchFamily="34" charset="0"/>
                        </a:rPr>
                        <a:t>dextrinisation</a:t>
                      </a:r>
                      <a:endParaRPr lang="en-GB" sz="18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tc>
                <a:tc>
                  <a:txBody>
                    <a:bodyPr/>
                    <a:lstStyle/>
                    <a:p>
                      <a:r>
                        <a:rPr lang="en-GB" sz="1800" dirty="0">
                          <a:latin typeface="Arial" panose="020B0604020202020204" pitchFamily="34" charset="0"/>
                          <a:cs typeface="Arial" panose="020B0604020202020204" pitchFamily="34" charset="0"/>
                        </a:rPr>
                        <a:t>The reaction of dry heat on the surface of food which changes starch to dextrin, e.g., toast.</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318793018"/>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fructose</a:t>
                      </a:r>
                    </a:p>
                  </a:txBody>
                  <a:tcPr marL="6350" marR="6350" marT="6350" marB="0" anchor="ctr"/>
                </a:tc>
                <a:tc>
                  <a:txBody>
                    <a:bodyPr/>
                    <a:lstStyle/>
                    <a:p>
                      <a:pPr lvl="0">
                        <a:buNone/>
                      </a:pPr>
                      <a:r>
                        <a:rPr lang="en-GB" sz="1800" dirty="0">
                          <a:latin typeface="Arial" panose="020B0604020202020204" pitchFamily="34" charset="0"/>
                          <a:cs typeface="Arial" panose="020B0604020202020204" pitchFamily="34" charset="0"/>
                        </a:rPr>
                        <a:t>A monosaccharide sugar. Commonly occurs in fruits and vegetables.</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2541781"/>
                  </a:ext>
                </a:extLst>
              </a:tr>
              <a:tr h="456178">
                <a:tc>
                  <a:txBody>
                    <a:bodyPr/>
                    <a:lstStyle/>
                    <a:p>
                      <a:pPr algn="ctr" fontAlgn="b"/>
                      <a:r>
                        <a:rPr lang="en-GB" sz="1800" b="1" i="0" u="none" strike="noStrike">
                          <a:solidFill>
                            <a:srgbClr val="000000"/>
                          </a:solidFill>
                          <a:effectLst/>
                          <a:latin typeface="Arial" panose="020B0604020202020204" pitchFamily="34" charset="0"/>
                          <a:cs typeface="Arial" panose="020B0604020202020204" pitchFamily="34" charset="0"/>
                        </a:rPr>
                        <a:t>glucose</a:t>
                      </a:r>
                    </a:p>
                  </a:txBody>
                  <a:tcPr marL="6350" marR="6350" marT="6350" marB="0" anchor="ctr"/>
                </a:tc>
                <a:tc>
                  <a:txBody>
                    <a:bodyPr/>
                    <a:lstStyle/>
                    <a:p>
                      <a:pPr lvl="0">
                        <a:buNone/>
                      </a:pPr>
                      <a:r>
                        <a:rPr lang="en-GB" sz="1800" dirty="0">
                          <a:latin typeface="Arial" panose="020B0604020202020204" pitchFamily="34" charset="0"/>
                          <a:cs typeface="Arial" panose="020B0604020202020204" pitchFamily="34" charset="0"/>
                        </a:rPr>
                        <a:t>A monosaccharide sugar. Glucose is widely distributed in small amounts in fruits, plant juices and honey. Glucose is also formed when our digestive system breaks starch down and is used as important energy source for our cells.</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291541744"/>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3245476435"/>
              </p:ext>
            </p:extLst>
          </p:nvPr>
        </p:nvGraphicFramePr>
        <p:xfrm>
          <a:off x="1169274" y="2161008"/>
          <a:ext cx="9930774" cy="4388098"/>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456178">
                <a:tc>
                  <a:txBody>
                    <a:bodyPr/>
                    <a:lstStyle/>
                    <a:p>
                      <a:pPr algn="ctr"/>
                      <a:r>
                        <a:rPr lang="en-US" sz="1800" dirty="0">
                          <a:latin typeface="Arial"/>
                        </a:rPr>
                        <a:t>Key word</a:t>
                      </a:r>
                    </a:p>
                  </a:txBody>
                  <a:tcPr anchor="ctr"/>
                </a:tc>
                <a:tc>
                  <a:txBody>
                    <a:bodyPr/>
                    <a:lstStyle/>
                    <a:p>
                      <a:pPr algn="l"/>
                      <a:r>
                        <a:rPr lang="en-US" sz="1800">
                          <a:latin typeface="Arial"/>
                        </a:rPr>
                        <a:t>Meaning</a:t>
                      </a:r>
                    </a:p>
                  </a:txBody>
                  <a:tcPr anchor="ctr"/>
                </a:tc>
                <a:extLst>
                  <a:ext uri="{0D108BD9-81ED-4DB2-BD59-A6C34878D82A}">
                    <a16:rowId xmlns:a16="http://schemas.microsoft.com/office/drawing/2014/main" val="475827214"/>
                  </a:ext>
                </a:extLst>
              </a:tr>
              <a:tr h="456178">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Maillard reaction</a:t>
                      </a:r>
                    </a:p>
                  </a:txBody>
                  <a:tcPr marL="6350" marR="6350" marT="6350" marB="0" anchor="ctr"/>
                </a:tc>
                <a:tc>
                  <a:txBody>
                    <a:bodyPr/>
                    <a:lstStyle/>
                    <a:p>
                      <a:pPr algn="l"/>
                      <a:r>
                        <a:rPr lang="en-GB" sz="1800" dirty="0">
                          <a:latin typeface="Arial"/>
                        </a:rPr>
                        <a:t>A type of non-enzymic browning initiated by reducing sugars reacting with amino acids, e.g., sugars and proteins reacting in bread when it is baked.</a:t>
                      </a:r>
                    </a:p>
                  </a:txBody>
                  <a:tcPr anchor="ctr"/>
                </a:tc>
                <a:extLst>
                  <a:ext uri="{0D108BD9-81ED-4DB2-BD59-A6C34878D82A}">
                    <a16:rowId xmlns:a16="http://schemas.microsoft.com/office/drawing/2014/main" val="1223495877"/>
                  </a:ext>
                </a:extLst>
              </a:tr>
              <a:tr h="456178">
                <a:tc>
                  <a:txBody>
                    <a:bodyPr/>
                    <a:lstStyle/>
                    <a:p>
                      <a:pPr algn="ctr" fontAlgn="b"/>
                      <a:r>
                        <a:rPr lang="en-GB" sz="1800" b="1" i="0" u="none" strike="noStrike">
                          <a:solidFill>
                            <a:srgbClr val="000000"/>
                          </a:solidFill>
                          <a:effectLst/>
                          <a:latin typeface="Arial" panose="020B0604020202020204" pitchFamily="34" charset="0"/>
                          <a:cs typeface="Arial" panose="020B0604020202020204" pitchFamily="34" charset="0"/>
                        </a:rPr>
                        <a:t>reducing sugar</a:t>
                      </a:r>
                    </a:p>
                  </a:txBody>
                  <a:tcPr marL="6350" marR="6350" marT="6350" marB="0" anchor="ctr"/>
                </a:tc>
                <a:tc>
                  <a:txBody>
                    <a:bodyPr/>
                    <a:lstStyle/>
                    <a:p>
                      <a:pPr lvl="0" algn="l">
                        <a:buNone/>
                      </a:pPr>
                      <a:r>
                        <a:rPr lang="en-GB" sz="1800" b="0" dirty="0">
                          <a:latin typeface="Arial"/>
                        </a:rPr>
                        <a:t>A sugar that can be oxidised (react) by a weak oxidising agent. Has a free group that can react. Reducing sugars react with amino acids in the Maillard reaction.</a:t>
                      </a:r>
                      <a:endParaRPr lang="en-US" sz="1800" b="0" dirty="0">
                        <a:latin typeface="Arial"/>
                      </a:endParaRPr>
                    </a:p>
                  </a:txBody>
                  <a:tcPr anchor="ctr"/>
                </a:tc>
                <a:extLst>
                  <a:ext uri="{0D108BD9-81ED-4DB2-BD59-A6C34878D82A}">
                    <a16:rowId xmlns:a16="http://schemas.microsoft.com/office/drawing/2014/main" val="4010399103"/>
                  </a:ext>
                </a:extLst>
              </a:tr>
              <a:tr h="456178">
                <a:tc>
                  <a:txBody>
                    <a:bodyPr/>
                    <a:lstStyle/>
                    <a:p>
                      <a:pPr algn="ctr" fontAlgn="b"/>
                      <a:r>
                        <a:rPr lang="en-GB" sz="1800" b="1" i="0" u="none" strike="noStrike">
                          <a:solidFill>
                            <a:srgbClr val="000000"/>
                          </a:solidFill>
                          <a:effectLst/>
                          <a:latin typeface="Arial" panose="020B0604020202020204" pitchFamily="34" charset="0"/>
                          <a:cs typeface="Arial" panose="020B0604020202020204" pitchFamily="34" charset="0"/>
                        </a:rPr>
                        <a:t>starch</a:t>
                      </a:r>
                    </a:p>
                  </a:txBody>
                  <a:tcPr marL="6350" marR="6350" marT="6350" marB="0" anchor="ctr"/>
                </a:tc>
                <a:tc>
                  <a:txBody>
                    <a:bodyPr/>
                    <a:lstStyle/>
                    <a:p>
                      <a:pPr lvl="0" algn="l">
                        <a:lnSpc>
                          <a:spcPct val="100000"/>
                        </a:lnSpc>
                        <a:spcBef>
                          <a:spcPts val="0"/>
                        </a:spcBef>
                        <a:spcAft>
                          <a:spcPts val="0"/>
                        </a:spcAft>
                        <a:buNone/>
                      </a:pPr>
                      <a:r>
                        <a:rPr lang="en-GB" sz="1800" dirty="0">
                          <a:latin typeface="Arial"/>
                        </a:rPr>
                        <a:t>A polysaccharide made up of many glucose units and the principal storage carbohydrate in plants. The main source of carbohydrate in most diets. Starch can have straight chains (amylose) or branched chains (amylopectin).</a:t>
                      </a:r>
                      <a:endParaRPr lang="en-US" sz="1800" dirty="0">
                        <a:latin typeface="Arial"/>
                      </a:endParaRPr>
                    </a:p>
                  </a:txBody>
                  <a:tcPr anchor="ctr"/>
                </a:tc>
                <a:extLst>
                  <a:ext uri="{0D108BD9-81ED-4DB2-BD59-A6C34878D82A}">
                    <a16:rowId xmlns:a16="http://schemas.microsoft.com/office/drawing/2014/main" val="3518663554"/>
                  </a:ext>
                </a:extLst>
              </a:tr>
              <a:tr h="456178">
                <a:tc>
                  <a:txBody>
                    <a:bodyPr/>
                    <a:lstStyle/>
                    <a:p>
                      <a:pPr algn="ctr" fontAlgn="b"/>
                      <a:r>
                        <a:rPr lang="en-GB" sz="1800" b="1" i="0" u="none" strike="noStrike">
                          <a:solidFill>
                            <a:srgbClr val="000000"/>
                          </a:solidFill>
                          <a:effectLst/>
                          <a:latin typeface="Arial" panose="020B0604020202020204" pitchFamily="34" charset="0"/>
                          <a:cs typeface="Arial" panose="020B0604020202020204" pitchFamily="34" charset="0"/>
                        </a:rPr>
                        <a:t>sucrose</a:t>
                      </a:r>
                    </a:p>
                  </a:txBody>
                  <a:tcPr marL="6350" marR="6350" marT="6350" marB="0" anchor="ctr"/>
                </a:tc>
                <a:tc>
                  <a:txBody>
                    <a:bodyPr/>
                    <a:lstStyle/>
                    <a:p>
                      <a:pPr algn="l"/>
                      <a:r>
                        <a:rPr lang="en-GB" sz="1800" dirty="0">
                          <a:latin typeface="Arial"/>
                        </a:rPr>
                        <a:t>Sucrose is the most common disaccharide and is composed of the monosaccharides glucose and fructose. It is digested by the enzyme sucrase into glucose and fructose.</a:t>
                      </a:r>
                      <a:endParaRPr lang="en-US" sz="1800" dirty="0">
                        <a:latin typeface="Arial"/>
                      </a:endParaRPr>
                    </a:p>
                  </a:txBody>
                  <a:tcPr anchor="ctr"/>
                </a:tc>
                <a:extLst>
                  <a:ext uri="{0D108BD9-81ED-4DB2-BD59-A6C34878D82A}">
                    <a16:rowId xmlns:a16="http://schemas.microsoft.com/office/drawing/2014/main" val="3318793018"/>
                  </a:ext>
                </a:extLst>
              </a:tr>
            </a:tbl>
          </a:graphicData>
        </a:graphic>
      </p:graphicFrame>
    </p:spTree>
    <p:extLst>
      <p:ext uri="{BB962C8B-B14F-4D97-AF65-F5344CB8AC3E}">
        <p14:creationId xmlns:p14="http://schemas.microsoft.com/office/powerpoint/2010/main" val="2710691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a:t>Teacher’s guide</a:t>
            </a:r>
          </a:p>
        </p:txBody>
      </p:sp>
    </p:spTree>
    <p:extLst>
      <p:ext uri="{BB962C8B-B14F-4D97-AF65-F5344CB8AC3E}">
        <p14:creationId xmlns:p14="http://schemas.microsoft.com/office/powerpoint/2010/main" val="482496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non-enzymic browning:</a:t>
            </a:r>
            <a:br>
              <a:rPr lang="en-US">
                <a:latin typeface="Arial"/>
                <a:cs typeface="Arial"/>
              </a:rPr>
            </a:b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dirty="0">
                <a:latin typeface="Arial"/>
                <a:cs typeface="Arial"/>
              </a:rPr>
              <a:t>There are three main browning reactions to teach:</a:t>
            </a:r>
          </a:p>
          <a:p>
            <a:pPr marL="800100" lvl="1" indent="-342900" algn="l">
              <a:buFont typeface="Arial" panose="020B0604020202020204" pitchFamily="34" charset="0"/>
              <a:buChar char="•"/>
            </a:pPr>
            <a:r>
              <a:rPr lang="en-US" dirty="0">
                <a:latin typeface="Arial" panose="020B0604020202020204" pitchFamily="34" charset="0"/>
                <a:cs typeface="Arial" panose="020B0604020202020204" pitchFamily="34" charset="0"/>
              </a:rPr>
              <a:t>the Maillard reaction;</a:t>
            </a:r>
          </a:p>
          <a:p>
            <a:pPr marL="800100" lvl="1" indent="-342900" algn="l">
              <a:buFont typeface="Arial" panose="020B0604020202020204" pitchFamily="34" charset="0"/>
              <a:buChar char="•"/>
            </a:pPr>
            <a:r>
              <a:rPr lang="en-US" dirty="0" err="1">
                <a:latin typeface="Arial" panose="020B0604020202020204" pitchFamily="34" charset="0"/>
                <a:cs typeface="Arial" panose="020B0604020202020204" pitchFamily="34" charset="0"/>
              </a:rPr>
              <a:t>caramelisation</a:t>
            </a:r>
            <a:r>
              <a:rPr lang="en-US" dirty="0">
                <a:latin typeface="Arial" panose="020B0604020202020204" pitchFamily="34" charset="0"/>
                <a:cs typeface="Arial" panose="020B0604020202020204" pitchFamily="34" charset="0"/>
              </a:rPr>
              <a:t>;</a:t>
            </a:r>
          </a:p>
          <a:p>
            <a:pPr marL="800100" lvl="1" indent="-342900" algn="l">
              <a:buFont typeface="Arial" panose="020B0604020202020204" pitchFamily="34" charset="0"/>
              <a:buChar char="•"/>
            </a:pPr>
            <a:r>
              <a:rPr lang="en-US" dirty="0" err="1">
                <a:latin typeface="Arial" panose="020B0604020202020204" pitchFamily="34" charset="0"/>
                <a:cs typeface="Arial" panose="020B0604020202020204" pitchFamily="34" charset="0"/>
              </a:rPr>
              <a:t>dextrinisation</a:t>
            </a:r>
            <a:r>
              <a:rPr lang="en-US" dirty="0">
                <a:latin typeface="Arial" panose="020B0604020202020204" pitchFamily="34" charset="0"/>
                <a:cs typeface="Arial" panose="020B0604020202020204" pitchFamily="34" charset="0"/>
              </a:rPr>
              <a:t>.</a:t>
            </a:r>
          </a:p>
          <a:p>
            <a:r>
              <a:rPr lang="en-GB" dirty="0"/>
              <a:t>Describe each reaction and explain the differences between them.</a:t>
            </a:r>
          </a:p>
          <a:p>
            <a:r>
              <a:rPr lang="en-GB" dirty="0"/>
              <a:t>Explain the conditions under which each reaction works best.</a:t>
            </a:r>
          </a:p>
          <a:p>
            <a:r>
              <a:rPr lang="en-GB" dirty="0"/>
              <a:t>Provide examples of foods to demonstrate each reaction.</a:t>
            </a:r>
          </a:p>
          <a:p>
            <a:r>
              <a:rPr lang="en-GB" dirty="0"/>
              <a:t>Experiment with cooking foods under different conditions (temperature, moisture etc.) to show how these affect the reactions.</a:t>
            </a:r>
          </a:p>
          <a:p>
            <a:r>
              <a:rPr lang="en-GB" dirty="0"/>
              <a:t>Note that reactions can occur alongside each other. For example, in baking bread, all three reactions occur and affect the final product.</a:t>
            </a:r>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9912166" cy="3600000"/>
          </a:xfrm>
        </p:spPr>
        <p:txBody>
          <a:bodyPr/>
          <a:lstStyle/>
          <a:p>
            <a:pPr marL="0" indent="0">
              <a:buNone/>
            </a:pPr>
            <a:r>
              <a:rPr lang="en-GB" dirty="0">
                <a:latin typeface="Arial" panose="020B0604020202020204" pitchFamily="34" charset="0"/>
                <a:cs typeface="Arial" panose="020B0604020202020204" pitchFamily="34" charset="0"/>
              </a:rPr>
              <a:t>The three major non-enzymic browning reactions are:</a:t>
            </a:r>
          </a:p>
          <a:p>
            <a:pPr marL="800100" lvl="1" indent="-342900" algn="l">
              <a:buFont typeface="Arial" panose="020B0604020202020204" pitchFamily="34" charset="0"/>
              <a:buChar char="•"/>
            </a:pPr>
            <a:r>
              <a:rPr lang="en-US" dirty="0">
                <a:latin typeface="Arial" panose="020B0604020202020204" pitchFamily="34" charset="0"/>
                <a:cs typeface="Arial" panose="020B0604020202020204" pitchFamily="34" charset="0"/>
              </a:rPr>
              <a:t>The Maillard reaction</a:t>
            </a:r>
          </a:p>
          <a:p>
            <a:pPr marL="1257300" lvl="2" indent="-342900" algn="l">
              <a:buFont typeface="Arial" panose="020B0604020202020204" pitchFamily="34" charset="0"/>
              <a:buChar char="•"/>
            </a:pPr>
            <a:r>
              <a:rPr lang="en-US" dirty="0">
                <a:latin typeface="Arial" panose="020B0604020202020204" pitchFamily="34" charset="0"/>
                <a:cs typeface="Arial" panose="020B0604020202020204" pitchFamily="34" charset="0"/>
              </a:rPr>
              <a:t>A chain of reactions initiated by the reactions of reducing sugars and amino acids, fastest between approx. 140-160°C and with little water present.</a:t>
            </a:r>
          </a:p>
          <a:p>
            <a:pPr marL="800100" lvl="1" indent="-342900" algn="l">
              <a:buFont typeface="Arial" panose="020B0604020202020204" pitchFamily="34" charset="0"/>
              <a:buChar char="•"/>
            </a:pPr>
            <a:r>
              <a:rPr lang="en-US" dirty="0" err="1">
                <a:latin typeface="Arial" panose="020B0604020202020204" pitchFamily="34" charset="0"/>
                <a:cs typeface="Arial" panose="020B0604020202020204" pitchFamily="34" charset="0"/>
              </a:rPr>
              <a:t>Caramelisation</a:t>
            </a:r>
            <a:endParaRPr lang="en-US" dirty="0">
              <a:latin typeface="Arial" panose="020B0604020202020204" pitchFamily="34" charset="0"/>
              <a:cs typeface="Arial" panose="020B0604020202020204" pitchFamily="34" charset="0"/>
            </a:endParaRPr>
          </a:p>
          <a:p>
            <a:pPr marL="1257300" lvl="2" indent="-342900" algn="l">
              <a:buFont typeface="Arial" panose="020B0604020202020204" pitchFamily="34" charset="0"/>
              <a:buChar char="•"/>
            </a:pPr>
            <a:r>
              <a:rPr lang="en-US" dirty="0">
                <a:latin typeface="Arial" panose="020B0604020202020204" pitchFamily="34" charset="0"/>
                <a:cs typeface="Arial" panose="020B0604020202020204" pitchFamily="34" charset="0"/>
              </a:rPr>
              <a:t>The splitting of sucrose and reaction of monosaccharides to form polymers (</a:t>
            </a:r>
            <a:r>
              <a:rPr lang="en-US" dirty="0" err="1">
                <a:latin typeface="Arial" panose="020B0604020202020204" pitchFamily="34" charset="0"/>
                <a:cs typeface="Arial" panose="020B0604020202020204" pitchFamily="34" charset="0"/>
              </a:rPr>
              <a:t>caramelans</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armelens</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aramelins</a:t>
            </a:r>
            <a:r>
              <a:rPr lang="en-US" dirty="0">
                <a:latin typeface="Arial" panose="020B0604020202020204" pitchFamily="34" charset="0"/>
                <a:cs typeface="Arial" panose="020B0604020202020204" pitchFamily="34" charset="0"/>
              </a:rPr>
              <a:t>) and decomposition products (e.g. diacetyl, furans, maltol), with little water present and at high temperatures (approx. 160°C for sucrose).</a:t>
            </a:r>
          </a:p>
          <a:p>
            <a:pPr marL="800100" lvl="1" indent="-342900" algn="l">
              <a:buFont typeface="Arial" panose="020B0604020202020204" pitchFamily="34" charset="0"/>
              <a:buChar char="•"/>
            </a:pPr>
            <a:r>
              <a:rPr lang="en-US" dirty="0" err="1">
                <a:latin typeface="Arial" panose="020B0604020202020204" pitchFamily="34" charset="0"/>
                <a:cs typeface="Arial" panose="020B0604020202020204" pitchFamily="34" charset="0"/>
              </a:rPr>
              <a:t>Dextrinisation</a:t>
            </a:r>
            <a:endParaRPr lang="en-US" dirty="0">
              <a:latin typeface="Arial" panose="020B0604020202020204" pitchFamily="34" charset="0"/>
              <a:cs typeface="Arial" panose="020B0604020202020204" pitchFamily="34" charset="0"/>
            </a:endParaRPr>
          </a:p>
          <a:p>
            <a:pPr marL="1257300" lvl="2" indent="-342900" algn="l">
              <a:buFont typeface="Arial" panose="020B0604020202020204" pitchFamily="34" charset="0"/>
              <a:buChar char="•"/>
            </a:pPr>
            <a:r>
              <a:rPr lang="en-US" dirty="0">
                <a:latin typeface="Arial" panose="020B0604020202020204" pitchFamily="34" charset="0"/>
                <a:cs typeface="Arial" panose="020B0604020202020204" pitchFamily="34" charset="0"/>
              </a:rPr>
              <a:t>The breakdown of starch by dry heat into shorter carbon chain ‘</a:t>
            </a:r>
            <a:r>
              <a:rPr lang="en-US" dirty="0" err="1">
                <a:latin typeface="Arial" panose="020B0604020202020204" pitchFamily="34" charset="0"/>
                <a:cs typeface="Arial" panose="020B0604020202020204" pitchFamily="34" charset="0"/>
              </a:rPr>
              <a:t>dextrins</a:t>
            </a:r>
            <a:r>
              <a:rPr lang="en-US" dirty="0">
                <a:latin typeface="Arial" panose="020B0604020202020204" pitchFamily="34" charset="0"/>
                <a:cs typeface="Arial" panose="020B0604020202020204" pitchFamily="34" charset="0"/>
              </a:rPr>
              <a:t>’.</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8677984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err="1"/>
              <a:t>Dextrinisation</a:t>
            </a:r>
            <a:endParaRPr lang="en-GB"/>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7" y="2571092"/>
            <a:ext cx="5720410" cy="3600000"/>
          </a:xfrm>
        </p:spPr>
        <p:txBody>
          <a:bodyPr/>
          <a:lstStyle/>
          <a:p>
            <a:pPr marL="0" indent="0">
              <a:buNone/>
            </a:pPr>
            <a:r>
              <a:rPr lang="en-GB" err="1"/>
              <a:t>Dextrinisation</a:t>
            </a:r>
            <a:r>
              <a:rPr lang="en-GB"/>
              <a:t> is a reaction caused by heating (under low water activity) where starches react and break down to produce shorter-chained ‘</a:t>
            </a:r>
            <a:r>
              <a:rPr lang="en-GB" err="1"/>
              <a:t>dextrins</a:t>
            </a:r>
            <a:r>
              <a:rPr lang="en-GB"/>
              <a:t>’.</a:t>
            </a:r>
          </a:p>
          <a:p>
            <a:pPr marL="0" indent="0">
              <a:buNone/>
            </a:pPr>
            <a:r>
              <a:rPr lang="en-GB"/>
              <a:t>These are brown in colour. Toasting bread is a good example to demonstrate </a:t>
            </a:r>
            <a:r>
              <a:rPr lang="en-GB" err="1"/>
              <a:t>dextrinisation</a:t>
            </a:r>
            <a:r>
              <a:rPr lang="en-GB"/>
              <a:t>.</a:t>
            </a:r>
          </a:p>
          <a:p>
            <a:pPr marL="0" indent="0">
              <a:buNone/>
            </a:pPr>
            <a:r>
              <a:rPr lang="en-GB"/>
              <a:t>If </a:t>
            </a:r>
            <a:r>
              <a:rPr lang="en-GB" err="1"/>
              <a:t>dextrinisation</a:t>
            </a:r>
            <a:r>
              <a:rPr lang="en-GB"/>
              <a:t> continues, the shorter chains are broken down still further, increasing browning.</a:t>
            </a:r>
          </a:p>
          <a:p>
            <a:pPr marL="0" indent="0">
              <a:buNone/>
            </a:pPr>
            <a:r>
              <a:rPr lang="en-GB"/>
              <a:t>Eventually, some may break down so much that elemental carbon is produced, which is why burnt toast is blackened.</a:t>
            </a:r>
          </a:p>
          <a:p>
            <a:pPr marL="0" indent="0">
              <a:buNone/>
            </a:pPr>
            <a:endParaRPr lang="en-GB"/>
          </a:p>
          <a:p>
            <a:pPr marL="0" indent="0">
              <a:buNone/>
            </a:pPr>
            <a:endParaRPr lang="en-GB"/>
          </a:p>
          <a:p>
            <a:pPr marL="0" indent="0">
              <a:buNone/>
            </a:pPr>
            <a:endParaRPr lang="en-GB"/>
          </a:p>
          <a:p>
            <a:endParaRPr lang="en-GB"/>
          </a:p>
          <a:p>
            <a:pPr marL="0" indent="0">
              <a:buNone/>
            </a:pPr>
            <a:endParaRPr lang="en-GB"/>
          </a:p>
          <a:p>
            <a:pPr marL="0" indent="0">
              <a:buNone/>
            </a:pPr>
            <a:endParaRPr lang="en-GB"/>
          </a:p>
        </p:txBody>
      </p:sp>
      <p:pic>
        <p:nvPicPr>
          <p:cNvPr id="4" name="Picture 2">
            <a:extLst>
              <a:ext uri="{FF2B5EF4-FFF2-40B4-BE49-F238E27FC236}">
                <a16:creationId xmlns:a16="http://schemas.microsoft.com/office/drawing/2014/main" id="{BF2ABAF8-2BCE-7179-7870-5C258FAD33B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3454" b="15202"/>
          <a:stretch/>
        </p:blipFill>
        <p:spPr bwMode="auto">
          <a:xfrm>
            <a:off x="6659092" y="3241047"/>
            <a:ext cx="5433320" cy="1523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590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a:t>Caramelisation</a:t>
            </a:r>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7" y="2571092"/>
            <a:ext cx="5629875" cy="3600000"/>
          </a:xfrm>
        </p:spPr>
        <p:txBody>
          <a:bodyPr/>
          <a:lstStyle/>
          <a:p>
            <a:pPr marL="0" indent="0">
              <a:buNone/>
            </a:pPr>
            <a:r>
              <a:rPr lang="en-GB"/>
              <a:t>Caramelisation is the breakdown of sugar (sucrose) into glucose and fructose, some of which combine to form complex polymers (</a:t>
            </a:r>
            <a:r>
              <a:rPr lang="en-GB" err="1"/>
              <a:t>caramelans</a:t>
            </a:r>
            <a:r>
              <a:rPr lang="en-GB"/>
              <a:t>, </a:t>
            </a:r>
            <a:r>
              <a:rPr lang="en-GB" err="1"/>
              <a:t>caramelens</a:t>
            </a:r>
            <a:r>
              <a:rPr lang="en-GB"/>
              <a:t> and </a:t>
            </a:r>
            <a:r>
              <a:rPr lang="en-GB" err="1"/>
              <a:t>caramelins</a:t>
            </a:r>
            <a:r>
              <a:rPr lang="en-GB"/>
              <a:t>). </a:t>
            </a:r>
          </a:p>
          <a:p>
            <a:pPr marL="0" indent="0">
              <a:buNone/>
            </a:pPr>
            <a:r>
              <a:rPr lang="en-GB"/>
              <a:t>Other ‘volatile’ compounds are released from the decomposition (breakdown) of the sugars, which provide the aromas and flavours caramel is known for.</a:t>
            </a:r>
          </a:p>
          <a:p>
            <a:pPr marL="0" indent="0">
              <a:buNone/>
            </a:pPr>
            <a:endParaRPr lang="en-GB"/>
          </a:p>
          <a:p>
            <a:pPr marL="0" indent="0">
              <a:buNone/>
            </a:pPr>
            <a:endParaRPr lang="en-GB"/>
          </a:p>
          <a:p>
            <a:pPr marL="0" indent="0">
              <a:buNone/>
            </a:pPr>
            <a:endParaRPr lang="en-GB"/>
          </a:p>
          <a:p>
            <a:endParaRPr lang="en-GB"/>
          </a:p>
          <a:p>
            <a:pPr marL="0" indent="0">
              <a:buNone/>
            </a:pPr>
            <a:endParaRPr lang="en-GB"/>
          </a:p>
          <a:p>
            <a:pPr marL="0" indent="0">
              <a:buNone/>
            </a:pPr>
            <a:endParaRPr lang="en-GB"/>
          </a:p>
        </p:txBody>
      </p:sp>
      <p:grpSp>
        <p:nvGrpSpPr>
          <p:cNvPr id="49" name="Group 48">
            <a:extLst>
              <a:ext uri="{FF2B5EF4-FFF2-40B4-BE49-F238E27FC236}">
                <a16:creationId xmlns:a16="http://schemas.microsoft.com/office/drawing/2014/main" id="{70C5AFD1-06B5-C05F-A2E1-55E80576C28A}"/>
              </a:ext>
            </a:extLst>
          </p:cNvPr>
          <p:cNvGrpSpPr/>
          <p:nvPr/>
        </p:nvGrpSpPr>
        <p:grpSpPr>
          <a:xfrm>
            <a:off x="6962519" y="4265084"/>
            <a:ext cx="4934552" cy="1786574"/>
            <a:chOff x="7003273" y="3807982"/>
            <a:chExt cx="4934552" cy="1786574"/>
          </a:xfrm>
        </p:grpSpPr>
        <p:pic>
          <p:nvPicPr>
            <p:cNvPr id="5" name="Picture 4">
              <a:extLst>
                <a:ext uri="{FF2B5EF4-FFF2-40B4-BE49-F238E27FC236}">
                  <a16:creationId xmlns:a16="http://schemas.microsoft.com/office/drawing/2014/main" id="{D5A8A780-8BC3-CE15-D18F-D5D052BF6B52}"/>
                </a:ext>
              </a:extLst>
            </p:cNvPr>
            <p:cNvPicPr>
              <a:picLocks noChangeAspect="1"/>
            </p:cNvPicPr>
            <p:nvPr/>
          </p:nvPicPr>
          <p:blipFill>
            <a:blip r:embed="rId2"/>
            <a:stretch>
              <a:fillRect/>
            </a:stretch>
          </p:blipFill>
          <p:spPr>
            <a:xfrm>
              <a:off x="10530606" y="3807982"/>
              <a:ext cx="1407219" cy="1486220"/>
            </a:xfrm>
            <a:prstGeom prst="rect">
              <a:avLst/>
            </a:prstGeom>
          </p:spPr>
        </p:pic>
        <p:grpSp>
          <p:nvGrpSpPr>
            <p:cNvPr id="40" name="Group 39">
              <a:extLst>
                <a:ext uri="{FF2B5EF4-FFF2-40B4-BE49-F238E27FC236}">
                  <a16:creationId xmlns:a16="http://schemas.microsoft.com/office/drawing/2014/main" id="{B44F1AEE-30A1-3255-0C28-3806506D501D}"/>
                </a:ext>
              </a:extLst>
            </p:cNvPr>
            <p:cNvGrpSpPr/>
            <p:nvPr/>
          </p:nvGrpSpPr>
          <p:grpSpPr>
            <a:xfrm>
              <a:off x="9194414" y="4087890"/>
              <a:ext cx="965352" cy="1477784"/>
              <a:chOff x="9823130" y="4521181"/>
              <a:chExt cx="965352" cy="1477784"/>
            </a:xfrm>
          </p:grpSpPr>
          <p:pic>
            <p:nvPicPr>
              <p:cNvPr id="4" name="Picture 3">
                <a:extLst>
                  <a:ext uri="{FF2B5EF4-FFF2-40B4-BE49-F238E27FC236}">
                    <a16:creationId xmlns:a16="http://schemas.microsoft.com/office/drawing/2014/main" id="{3F50765C-7DDE-57E9-D2BE-C4A6E357CB07}"/>
                  </a:ext>
                </a:extLst>
              </p:cNvPr>
              <p:cNvPicPr>
                <a:picLocks noChangeAspect="1"/>
              </p:cNvPicPr>
              <p:nvPr/>
            </p:nvPicPr>
            <p:blipFill>
              <a:blip r:embed="rId3"/>
              <a:stretch>
                <a:fillRect/>
              </a:stretch>
            </p:blipFill>
            <p:spPr>
              <a:xfrm>
                <a:off x="9823130" y="4521181"/>
                <a:ext cx="965352" cy="1002077"/>
              </a:xfrm>
              <a:prstGeom prst="rect">
                <a:avLst/>
              </a:prstGeom>
            </p:spPr>
          </p:pic>
          <p:sp>
            <p:nvSpPr>
              <p:cNvPr id="6" name="TextBox 5">
                <a:extLst>
                  <a:ext uri="{FF2B5EF4-FFF2-40B4-BE49-F238E27FC236}">
                    <a16:creationId xmlns:a16="http://schemas.microsoft.com/office/drawing/2014/main" id="{F432AE81-8671-C95A-C5BB-64B35736950C}"/>
                  </a:ext>
                </a:extLst>
              </p:cNvPr>
              <p:cNvSpPr txBox="1"/>
              <p:nvPr/>
            </p:nvSpPr>
            <p:spPr>
              <a:xfrm>
                <a:off x="9893859" y="5737355"/>
                <a:ext cx="845748" cy="261610"/>
              </a:xfrm>
              <a:prstGeom prst="rect">
                <a:avLst/>
              </a:prstGeom>
              <a:noFill/>
            </p:spPr>
            <p:txBody>
              <a:bodyPr wrap="square" rtlCol="0">
                <a:spAutoFit/>
              </a:bodyPr>
              <a:lstStyle/>
              <a:p>
                <a:pPr algn="ctr"/>
                <a:r>
                  <a:rPr lang="en-GB" sz="1100">
                    <a:solidFill>
                      <a:srgbClr val="000A1E"/>
                    </a:solidFill>
                    <a:latin typeface="Arial Black" panose="020B0A04020102020204" pitchFamily="34" charset="0"/>
                  </a:rPr>
                  <a:t>Furan</a:t>
                </a:r>
                <a:endParaRPr lang="en-GB" sz="600">
                  <a:solidFill>
                    <a:srgbClr val="000A1E"/>
                  </a:solidFill>
                  <a:latin typeface="Arial" panose="020B0604020202020204" pitchFamily="34" charset="0"/>
                  <a:cs typeface="Arial" panose="020B0604020202020204" pitchFamily="34" charset="0"/>
                </a:endParaRPr>
              </a:p>
            </p:txBody>
          </p:sp>
        </p:grpSp>
        <p:sp>
          <p:nvSpPr>
            <p:cNvPr id="7" name="TextBox 6">
              <a:extLst>
                <a:ext uri="{FF2B5EF4-FFF2-40B4-BE49-F238E27FC236}">
                  <a16:creationId xmlns:a16="http://schemas.microsoft.com/office/drawing/2014/main" id="{BE6BB448-ABDF-B324-2F61-51E9B1AC6670}"/>
                </a:ext>
              </a:extLst>
            </p:cNvPr>
            <p:cNvSpPr txBox="1"/>
            <p:nvPr/>
          </p:nvSpPr>
          <p:spPr>
            <a:xfrm>
              <a:off x="10530606" y="5332946"/>
              <a:ext cx="845748" cy="261610"/>
            </a:xfrm>
            <a:prstGeom prst="rect">
              <a:avLst/>
            </a:prstGeom>
            <a:noFill/>
          </p:spPr>
          <p:txBody>
            <a:bodyPr wrap="square" rtlCol="0">
              <a:spAutoFit/>
            </a:bodyPr>
            <a:lstStyle/>
            <a:p>
              <a:pPr algn="ctr"/>
              <a:r>
                <a:rPr lang="en-GB" sz="1100">
                  <a:solidFill>
                    <a:srgbClr val="000A1E"/>
                  </a:solidFill>
                  <a:latin typeface="Arial Black" panose="020B0A04020102020204" pitchFamily="34" charset="0"/>
                </a:rPr>
                <a:t>Maltol</a:t>
              </a:r>
              <a:endParaRPr lang="en-GB" sz="600">
                <a:solidFill>
                  <a:srgbClr val="000A1E"/>
                </a:solidFill>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F184FE44-6A84-2928-E1CB-5CE3BC0BCFDF}"/>
                </a:ext>
              </a:extLst>
            </p:cNvPr>
            <p:cNvGrpSpPr/>
            <p:nvPr/>
          </p:nvGrpSpPr>
          <p:grpSpPr>
            <a:xfrm>
              <a:off x="7003273" y="3945110"/>
              <a:ext cx="1982275" cy="1620564"/>
              <a:chOff x="7883744" y="4342654"/>
              <a:chExt cx="1982275" cy="1620564"/>
            </a:xfrm>
          </p:grpSpPr>
          <p:sp>
            <p:nvSpPr>
              <p:cNvPr id="8" name="TextBox 7">
                <a:extLst>
                  <a:ext uri="{FF2B5EF4-FFF2-40B4-BE49-F238E27FC236}">
                    <a16:creationId xmlns:a16="http://schemas.microsoft.com/office/drawing/2014/main" id="{DB3032F4-EEA3-E341-3ED4-BFD9375CF8C3}"/>
                  </a:ext>
                </a:extLst>
              </p:cNvPr>
              <p:cNvSpPr txBox="1"/>
              <p:nvPr/>
            </p:nvSpPr>
            <p:spPr>
              <a:xfrm>
                <a:off x="8600451" y="5701608"/>
                <a:ext cx="845748" cy="261610"/>
              </a:xfrm>
              <a:prstGeom prst="rect">
                <a:avLst/>
              </a:prstGeom>
              <a:noFill/>
            </p:spPr>
            <p:txBody>
              <a:bodyPr wrap="square" rtlCol="0">
                <a:spAutoFit/>
              </a:bodyPr>
              <a:lstStyle/>
              <a:p>
                <a:pPr algn="ctr"/>
                <a:r>
                  <a:rPr lang="en-GB" sz="1100">
                    <a:solidFill>
                      <a:srgbClr val="000A1E"/>
                    </a:solidFill>
                    <a:latin typeface="Arial Black" panose="020B0A04020102020204" pitchFamily="34" charset="0"/>
                  </a:rPr>
                  <a:t>Diacetyl</a:t>
                </a:r>
                <a:endParaRPr lang="en-GB" sz="600">
                  <a:solidFill>
                    <a:srgbClr val="000A1E"/>
                  </a:solidFill>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27CD096F-5A61-143F-607D-A3142ECBFA68}"/>
                  </a:ext>
                </a:extLst>
              </p:cNvPr>
              <p:cNvGrpSpPr/>
              <p:nvPr/>
            </p:nvGrpSpPr>
            <p:grpSpPr>
              <a:xfrm>
                <a:off x="8748815" y="4342654"/>
                <a:ext cx="641822" cy="787894"/>
                <a:chOff x="10164129" y="2130777"/>
                <a:chExt cx="641822" cy="787894"/>
              </a:xfrm>
            </p:grpSpPr>
            <p:grpSp>
              <p:nvGrpSpPr>
                <p:cNvPr id="17" name="Group 16">
                  <a:extLst>
                    <a:ext uri="{FF2B5EF4-FFF2-40B4-BE49-F238E27FC236}">
                      <a16:creationId xmlns:a16="http://schemas.microsoft.com/office/drawing/2014/main" id="{6D4F5337-9D8A-16F2-290C-6F04DD0FB34D}"/>
                    </a:ext>
                  </a:extLst>
                </p:cNvPr>
                <p:cNvGrpSpPr/>
                <p:nvPr/>
              </p:nvGrpSpPr>
              <p:grpSpPr>
                <a:xfrm>
                  <a:off x="10164129" y="2130777"/>
                  <a:ext cx="551822" cy="787894"/>
                  <a:chOff x="8241693" y="2511094"/>
                  <a:chExt cx="551822" cy="787894"/>
                </a:xfrm>
              </p:grpSpPr>
              <p:cxnSp>
                <p:nvCxnSpPr>
                  <p:cNvPr id="19" name="Straight Connector 18">
                    <a:extLst>
                      <a:ext uri="{FF2B5EF4-FFF2-40B4-BE49-F238E27FC236}">
                        <a16:creationId xmlns:a16="http://schemas.microsoft.com/office/drawing/2014/main" id="{67512BF2-AB50-9524-E407-ADC5155AD975}"/>
                      </a:ext>
                    </a:extLst>
                  </p:cNvPr>
                  <p:cNvCxnSpPr>
                    <a:cxnSpLocks/>
                  </p:cNvCxnSpPr>
                  <p:nvPr/>
                </p:nvCxnSpPr>
                <p:spPr>
                  <a:xfrm flipV="1">
                    <a:off x="8241693" y="3051488"/>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3D35153-2DAA-5F20-774B-23FD69D407E2}"/>
                      </a:ext>
                    </a:extLst>
                  </p:cNvPr>
                  <p:cNvCxnSpPr>
                    <a:cxnSpLocks/>
                  </p:cNvCxnSpPr>
                  <p:nvPr/>
                </p:nvCxnSpPr>
                <p:spPr>
                  <a:xfrm flipV="1">
                    <a:off x="854454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220AC36-5D6A-E927-7E17-46CED6E45B8A}"/>
                      </a:ext>
                    </a:extLst>
                  </p:cNvPr>
                  <p:cNvCxnSpPr>
                    <a:cxnSpLocks/>
                  </p:cNvCxnSpPr>
                  <p:nvPr/>
                </p:nvCxnSpPr>
                <p:spPr>
                  <a:xfrm flipV="1">
                    <a:off x="858301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E169CE0-7A24-C8FE-1911-A8F50BD9BEB0}"/>
                      </a:ext>
                    </a:extLst>
                  </p:cNvPr>
                  <p:cNvSpPr txBox="1"/>
                  <p:nvPr/>
                </p:nvSpPr>
                <p:spPr>
                  <a:xfrm>
                    <a:off x="8349380" y="2511094"/>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a:t>
                    </a:r>
                  </a:p>
                </p:txBody>
              </p:sp>
            </p:grpSp>
            <p:cxnSp>
              <p:nvCxnSpPr>
                <p:cNvPr id="18" name="Straight Connector 17">
                  <a:extLst>
                    <a:ext uri="{FF2B5EF4-FFF2-40B4-BE49-F238E27FC236}">
                      <a16:creationId xmlns:a16="http://schemas.microsoft.com/office/drawing/2014/main" id="{84585217-35A6-7FD1-8B95-C43DAE7F7653}"/>
                    </a:ext>
                  </a:extLst>
                </p:cNvPr>
                <p:cNvCxnSpPr>
                  <a:cxnSpLocks/>
                </p:cNvCxnSpPr>
                <p:nvPr/>
              </p:nvCxnSpPr>
              <p:spPr>
                <a:xfrm flipH="1" flipV="1">
                  <a:off x="10503104" y="2671171"/>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A3476B67-6258-64C2-83A9-7AB2348A1439}"/>
                  </a:ext>
                </a:extLst>
              </p:cNvPr>
              <p:cNvSpPr txBox="1"/>
              <p:nvPr/>
            </p:nvSpPr>
            <p:spPr>
              <a:xfrm>
                <a:off x="9296656" y="5068734"/>
                <a:ext cx="569363"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CH</a:t>
                </a:r>
                <a:r>
                  <a:rPr lang="en-GB" sz="1400" baseline="-25000">
                    <a:solidFill>
                      <a:srgbClr val="002060"/>
                    </a:solidFill>
                    <a:latin typeface="Arial Black" panose="020B0A04020102020204" pitchFamily="34" charset="0"/>
                  </a:rPr>
                  <a:t>3</a:t>
                </a:r>
              </a:p>
            </p:txBody>
          </p:sp>
          <p:cxnSp>
            <p:nvCxnSpPr>
              <p:cNvPr id="12" name="Straight Connector 11">
                <a:extLst>
                  <a:ext uri="{FF2B5EF4-FFF2-40B4-BE49-F238E27FC236}">
                    <a16:creationId xmlns:a16="http://schemas.microsoft.com/office/drawing/2014/main" id="{555F2F9F-5E87-7A09-6E73-0CC443435540}"/>
                  </a:ext>
                </a:extLst>
              </p:cNvPr>
              <p:cNvCxnSpPr>
                <a:cxnSpLocks/>
              </p:cNvCxnSpPr>
              <p:nvPr/>
            </p:nvCxnSpPr>
            <p:spPr>
              <a:xfrm flipH="1" flipV="1">
                <a:off x="8449028" y="4892101"/>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10238AF-E9C0-456C-13A4-AB1A81B3D6F1}"/>
                  </a:ext>
                </a:extLst>
              </p:cNvPr>
              <p:cNvSpPr/>
              <p:nvPr/>
            </p:nvSpPr>
            <p:spPr>
              <a:xfrm>
                <a:off x="8979726" y="4850070"/>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084D6AA7-B14A-7357-7264-D774608B00BB}"/>
                  </a:ext>
                </a:extLst>
              </p:cNvPr>
              <p:cNvSpPr txBox="1"/>
              <p:nvPr/>
            </p:nvSpPr>
            <p:spPr>
              <a:xfrm>
                <a:off x="8847659" y="4786182"/>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sp>
            <p:nvSpPr>
              <p:cNvPr id="15" name="Rectangle 14">
                <a:extLst>
                  <a:ext uri="{FF2B5EF4-FFF2-40B4-BE49-F238E27FC236}">
                    <a16:creationId xmlns:a16="http://schemas.microsoft.com/office/drawing/2014/main" id="{D0182745-450A-15DF-C5A8-CC2DF83CF8C9}"/>
                  </a:ext>
                </a:extLst>
              </p:cNvPr>
              <p:cNvSpPr/>
              <p:nvPr/>
            </p:nvSpPr>
            <p:spPr>
              <a:xfrm>
                <a:off x="8649972" y="5058654"/>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C066F1AB-8E0F-E5E7-A67C-628E8A594A4E}"/>
                  </a:ext>
                </a:extLst>
              </p:cNvPr>
              <p:cNvSpPr txBox="1"/>
              <p:nvPr/>
            </p:nvSpPr>
            <p:spPr>
              <a:xfrm>
                <a:off x="8517905" y="4994766"/>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sp>
            <p:nvSpPr>
              <p:cNvPr id="23" name="TextBox 22">
                <a:extLst>
                  <a:ext uri="{FF2B5EF4-FFF2-40B4-BE49-F238E27FC236}">
                    <a16:creationId xmlns:a16="http://schemas.microsoft.com/office/drawing/2014/main" id="{CDFE1C11-B271-4B46-7F26-54A2E9547224}"/>
                  </a:ext>
                </a:extLst>
              </p:cNvPr>
              <p:cNvSpPr txBox="1"/>
              <p:nvPr/>
            </p:nvSpPr>
            <p:spPr>
              <a:xfrm>
                <a:off x="7883744" y="4685740"/>
                <a:ext cx="684882"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H</a:t>
                </a:r>
                <a:r>
                  <a:rPr lang="en-GB" sz="1400" baseline="-25000">
                    <a:solidFill>
                      <a:srgbClr val="002060"/>
                    </a:solidFill>
                    <a:latin typeface="Arial Black" panose="020B0A04020102020204" pitchFamily="34" charset="0"/>
                  </a:rPr>
                  <a:t>3</a:t>
                </a:r>
                <a:r>
                  <a:rPr lang="en-GB" sz="1400">
                    <a:solidFill>
                      <a:srgbClr val="002060"/>
                    </a:solidFill>
                    <a:latin typeface="Arial Black" panose="020B0A04020102020204" pitchFamily="34" charset="0"/>
                  </a:rPr>
                  <a:t>C</a:t>
                </a:r>
              </a:p>
            </p:txBody>
          </p:sp>
          <p:grpSp>
            <p:nvGrpSpPr>
              <p:cNvPr id="33" name="Group 32">
                <a:extLst>
                  <a:ext uri="{FF2B5EF4-FFF2-40B4-BE49-F238E27FC236}">
                    <a16:creationId xmlns:a16="http://schemas.microsoft.com/office/drawing/2014/main" id="{92F4C38F-95DF-1EED-B750-643A730A7B7C}"/>
                  </a:ext>
                </a:extLst>
              </p:cNvPr>
              <p:cNvGrpSpPr/>
              <p:nvPr/>
            </p:nvGrpSpPr>
            <p:grpSpPr>
              <a:xfrm>
                <a:off x="8517905" y="5225222"/>
                <a:ext cx="444135" cy="532213"/>
                <a:chOff x="8335577" y="2788093"/>
                <a:chExt cx="444135" cy="532213"/>
              </a:xfrm>
            </p:grpSpPr>
            <p:cxnSp>
              <p:nvCxnSpPr>
                <p:cNvPr id="36" name="Straight Connector 35">
                  <a:extLst>
                    <a:ext uri="{FF2B5EF4-FFF2-40B4-BE49-F238E27FC236}">
                      <a16:creationId xmlns:a16="http://schemas.microsoft.com/office/drawing/2014/main" id="{6520789B-7BA6-F4D9-B6A1-D5C7CD88295F}"/>
                    </a:ext>
                  </a:extLst>
                </p:cNvPr>
                <p:cNvCxnSpPr>
                  <a:cxnSpLocks/>
                </p:cNvCxnSpPr>
                <p:nvPr/>
              </p:nvCxnSpPr>
              <p:spPr>
                <a:xfrm flipV="1">
                  <a:off x="854454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071BD51-569F-B8C4-5212-B6C3525A2B62}"/>
                    </a:ext>
                  </a:extLst>
                </p:cNvPr>
                <p:cNvCxnSpPr>
                  <a:cxnSpLocks/>
                </p:cNvCxnSpPr>
                <p:nvPr/>
              </p:nvCxnSpPr>
              <p:spPr>
                <a:xfrm flipV="1">
                  <a:off x="858301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8E23A2E-8FD9-67A5-82F7-C437213ABF16}"/>
                    </a:ext>
                  </a:extLst>
                </p:cNvPr>
                <p:cNvSpPr txBox="1"/>
                <p:nvPr/>
              </p:nvSpPr>
              <p:spPr>
                <a:xfrm>
                  <a:off x="8335577" y="3012529"/>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a:t>
                  </a:r>
                </a:p>
              </p:txBody>
            </p:sp>
          </p:grpSp>
        </p:grpSp>
      </p:grpSp>
      <p:grpSp>
        <p:nvGrpSpPr>
          <p:cNvPr id="48" name="Group 47">
            <a:extLst>
              <a:ext uri="{FF2B5EF4-FFF2-40B4-BE49-F238E27FC236}">
                <a16:creationId xmlns:a16="http://schemas.microsoft.com/office/drawing/2014/main" id="{B3A69A13-E4A3-E6C1-1DAD-5246576F04F3}"/>
              </a:ext>
            </a:extLst>
          </p:cNvPr>
          <p:cNvGrpSpPr/>
          <p:nvPr/>
        </p:nvGrpSpPr>
        <p:grpSpPr>
          <a:xfrm>
            <a:off x="6980596" y="2918166"/>
            <a:ext cx="4821003" cy="605294"/>
            <a:chOff x="7003273" y="2704952"/>
            <a:chExt cx="4821003" cy="605294"/>
          </a:xfrm>
        </p:grpSpPr>
        <p:sp>
          <p:nvSpPr>
            <p:cNvPr id="42" name="TextBox 41">
              <a:extLst>
                <a:ext uri="{FF2B5EF4-FFF2-40B4-BE49-F238E27FC236}">
                  <a16:creationId xmlns:a16="http://schemas.microsoft.com/office/drawing/2014/main" id="{D8584991-62F7-5DB9-1602-9E99195D15B3}"/>
                </a:ext>
              </a:extLst>
            </p:cNvPr>
            <p:cNvSpPr txBox="1"/>
            <p:nvPr/>
          </p:nvSpPr>
          <p:spPr>
            <a:xfrm>
              <a:off x="7003273" y="2704952"/>
              <a:ext cx="1743256" cy="605294"/>
            </a:xfrm>
            <a:prstGeom prst="rect">
              <a:avLst/>
            </a:prstGeom>
            <a:noFill/>
          </p:spPr>
          <p:txBody>
            <a:bodyPr wrap="square" rtlCol="0">
              <a:spAutoFit/>
            </a:bodyPr>
            <a:lstStyle/>
            <a:p>
              <a:pPr algn="ctr"/>
              <a:r>
                <a:rPr lang="en-GB" sz="2000">
                  <a:solidFill>
                    <a:srgbClr val="002060"/>
                  </a:solidFill>
                  <a:latin typeface="Arial Black" panose="020B0A04020102020204" pitchFamily="34" charset="0"/>
                </a:rPr>
                <a:t>C</a:t>
              </a:r>
              <a:r>
                <a:rPr lang="en-GB" sz="2000" baseline="-25000">
                  <a:solidFill>
                    <a:srgbClr val="002060"/>
                  </a:solidFill>
                  <a:latin typeface="Arial Black" panose="020B0A04020102020204" pitchFamily="34" charset="0"/>
                </a:rPr>
                <a:t>12</a:t>
              </a:r>
              <a:r>
                <a:rPr lang="en-GB" sz="2000">
                  <a:solidFill>
                    <a:srgbClr val="002060"/>
                  </a:solidFill>
                  <a:latin typeface="Arial Black" panose="020B0A04020102020204" pitchFamily="34" charset="0"/>
                </a:rPr>
                <a:t>H</a:t>
              </a:r>
              <a:r>
                <a:rPr lang="en-GB" sz="2000" baseline="-25000">
                  <a:solidFill>
                    <a:srgbClr val="002060"/>
                  </a:solidFill>
                  <a:latin typeface="Arial Black" panose="020B0A04020102020204" pitchFamily="34" charset="0"/>
                </a:rPr>
                <a:t>12</a:t>
              </a:r>
              <a:r>
                <a:rPr lang="en-GB" sz="2000">
                  <a:solidFill>
                    <a:srgbClr val="002060"/>
                  </a:solidFill>
                  <a:latin typeface="Arial Black" panose="020B0A04020102020204" pitchFamily="34" charset="0"/>
                </a:rPr>
                <a:t>O</a:t>
              </a:r>
              <a:r>
                <a:rPr lang="en-GB" sz="2000" baseline="-25000">
                  <a:solidFill>
                    <a:srgbClr val="002060"/>
                  </a:solidFill>
                  <a:latin typeface="Arial Black" panose="020B0A04020102020204" pitchFamily="34" charset="0"/>
                </a:rPr>
                <a:t>9</a:t>
              </a:r>
              <a:br>
                <a:rPr lang="en-GB" sz="2000" baseline="-25000">
                  <a:solidFill>
                    <a:srgbClr val="002060"/>
                  </a:solidFill>
                  <a:latin typeface="Arial Black" panose="020B0A04020102020204" pitchFamily="34" charset="0"/>
                </a:rPr>
              </a:br>
              <a:r>
                <a:rPr lang="en-GB" sz="2000" baseline="-25000" err="1">
                  <a:solidFill>
                    <a:srgbClr val="002060"/>
                  </a:solidFill>
                  <a:latin typeface="Arial Black" panose="020B0A04020102020204" pitchFamily="34" charset="0"/>
                </a:rPr>
                <a:t>Caramelan</a:t>
              </a:r>
              <a:endParaRPr lang="en-GB" sz="1050" baseline="-25000">
                <a:solidFill>
                  <a:srgbClr val="002060"/>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F05D3B29-3424-F95E-C81F-7CF805FE5D1A}"/>
                </a:ext>
              </a:extLst>
            </p:cNvPr>
            <p:cNvSpPr txBox="1"/>
            <p:nvPr/>
          </p:nvSpPr>
          <p:spPr>
            <a:xfrm>
              <a:off x="8542146" y="2704952"/>
              <a:ext cx="1743256" cy="605294"/>
            </a:xfrm>
            <a:prstGeom prst="rect">
              <a:avLst/>
            </a:prstGeom>
            <a:noFill/>
          </p:spPr>
          <p:txBody>
            <a:bodyPr wrap="square" rtlCol="0">
              <a:spAutoFit/>
            </a:bodyPr>
            <a:lstStyle/>
            <a:p>
              <a:pPr algn="ctr"/>
              <a:r>
                <a:rPr lang="en-GB" sz="2000">
                  <a:solidFill>
                    <a:srgbClr val="002060"/>
                  </a:solidFill>
                  <a:latin typeface="Arial Black" panose="020B0A04020102020204" pitchFamily="34" charset="0"/>
                </a:rPr>
                <a:t>C</a:t>
              </a:r>
              <a:r>
                <a:rPr lang="en-GB" sz="2000" baseline="-25000">
                  <a:solidFill>
                    <a:srgbClr val="002060"/>
                  </a:solidFill>
                  <a:latin typeface="Arial Black" panose="020B0A04020102020204" pitchFamily="34" charset="0"/>
                </a:rPr>
                <a:t>24</a:t>
              </a:r>
              <a:r>
                <a:rPr lang="en-GB" sz="2000">
                  <a:solidFill>
                    <a:srgbClr val="002060"/>
                  </a:solidFill>
                  <a:latin typeface="Arial Black" panose="020B0A04020102020204" pitchFamily="34" charset="0"/>
                </a:rPr>
                <a:t>H</a:t>
              </a:r>
              <a:r>
                <a:rPr lang="en-GB" sz="2000" baseline="-25000">
                  <a:solidFill>
                    <a:srgbClr val="002060"/>
                  </a:solidFill>
                  <a:latin typeface="Arial Black" panose="020B0A04020102020204" pitchFamily="34" charset="0"/>
                </a:rPr>
                <a:t>26</a:t>
              </a:r>
              <a:r>
                <a:rPr lang="en-GB" sz="2000">
                  <a:solidFill>
                    <a:srgbClr val="002060"/>
                  </a:solidFill>
                  <a:latin typeface="Arial Black" panose="020B0A04020102020204" pitchFamily="34" charset="0"/>
                </a:rPr>
                <a:t>O</a:t>
              </a:r>
              <a:r>
                <a:rPr lang="en-GB" sz="2000" baseline="-25000">
                  <a:solidFill>
                    <a:srgbClr val="002060"/>
                  </a:solidFill>
                  <a:latin typeface="Arial Black" panose="020B0A04020102020204" pitchFamily="34" charset="0"/>
                </a:rPr>
                <a:t>13</a:t>
              </a:r>
              <a:br>
                <a:rPr lang="en-GB" sz="1050" baseline="-25000">
                  <a:solidFill>
                    <a:srgbClr val="002060"/>
                  </a:solidFill>
                  <a:latin typeface="Arial" panose="020B0604020202020204" pitchFamily="34" charset="0"/>
                  <a:cs typeface="Arial" panose="020B0604020202020204" pitchFamily="34" charset="0"/>
                </a:rPr>
              </a:br>
              <a:r>
                <a:rPr lang="en-GB" sz="2000" baseline="-25000" err="1">
                  <a:solidFill>
                    <a:srgbClr val="002060"/>
                  </a:solidFill>
                  <a:latin typeface="Arial Black" panose="020B0A04020102020204" pitchFamily="34" charset="0"/>
                  <a:cs typeface="Arial" panose="020B0604020202020204" pitchFamily="34" charset="0"/>
                </a:rPr>
                <a:t>Caramelen</a:t>
              </a:r>
              <a:endParaRPr lang="en-GB" sz="2000" baseline="-25000">
                <a:solidFill>
                  <a:srgbClr val="002060"/>
                </a:solidFill>
                <a:latin typeface="Arial Black" panose="020B0A04020102020204" pitchFamily="34" charset="0"/>
              </a:endParaRPr>
            </a:p>
          </p:txBody>
        </p:sp>
        <p:sp>
          <p:nvSpPr>
            <p:cNvPr id="44" name="TextBox 43">
              <a:extLst>
                <a:ext uri="{FF2B5EF4-FFF2-40B4-BE49-F238E27FC236}">
                  <a16:creationId xmlns:a16="http://schemas.microsoft.com/office/drawing/2014/main" id="{182DD863-05A3-2033-C724-A148582D9D2A}"/>
                </a:ext>
              </a:extLst>
            </p:cNvPr>
            <p:cNvSpPr txBox="1"/>
            <p:nvPr/>
          </p:nvSpPr>
          <p:spPr>
            <a:xfrm>
              <a:off x="10081020" y="2704952"/>
              <a:ext cx="1743256" cy="605294"/>
            </a:xfrm>
            <a:prstGeom prst="rect">
              <a:avLst/>
            </a:prstGeom>
            <a:noFill/>
          </p:spPr>
          <p:txBody>
            <a:bodyPr wrap="square" rtlCol="0">
              <a:spAutoFit/>
            </a:bodyPr>
            <a:lstStyle/>
            <a:p>
              <a:pPr algn="ctr"/>
              <a:r>
                <a:rPr lang="en-GB" sz="2000">
                  <a:solidFill>
                    <a:srgbClr val="002060"/>
                  </a:solidFill>
                  <a:latin typeface="Arial Black" panose="020B0A04020102020204" pitchFamily="34" charset="0"/>
                </a:rPr>
                <a:t>C</a:t>
              </a:r>
              <a:r>
                <a:rPr lang="en-GB" sz="2000" baseline="-25000">
                  <a:solidFill>
                    <a:srgbClr val="002060"/>
                  </a:solidFill>
                  <a:latin typeface="Arial Black" panose="020B0A04020102020204" pitchFamily="34" charset="0"/>
                </a:rPr>
                <a:t>36</a:t>
              </a:r>
              <a:r>
                <a:rPr lang="en-GB" sz="2000">
                  <a:solidFill>
                    <a:srgbClr val="002060"/>
                  </a:solidFill>
                  <a:latin typeface="Arial Black" panose="020B0A04020102020204" pitchFamily="34" charset="0"/>
                </a:rPr>
                <a:t>H</a:t>
              </a:r>
              <a:r>
                <a:rPr lang="en-GB" sz="2000" baseline="-25000">
                  <a:solidFill>
                    <a:srgbClr val="002060"/>
                  </a:solidFill>
                  <a:latin typeface="Arial Black" panose="020B0A04020102020204" pitchFamily="34" charset="0"/>
                </a:rPr>
                <a:t>18</a:t>
              </a:r>
              <a:r>
                <a:rPr lang="en-GB" sz="2000">
                  <a:solidFill>
                    <a:srgbClr val="002060"/>
                  </a:solidFill>
                  <a:latin typeface="Arial Black" panose="020B0A04020102020204" pitchFamily="34" charset="0"/>
                </a:rPr>
                <a:t>O</a:t>
              </a:r>
              <a:r>
                <a:rPr lang="en-GB" sz="2000" baseline="-25000">
                  <a:solidFill>
                    <a:srgbClr val="002060"/>
                  </a:solidFill>
                  <a:latin typeface="Arial Black" panose="020B0A04020102020204" pitchFamily="34" charset="0"/>
                </a:rPr>
                <a:t>24</a:t>
              </a:r>
              <a:br>
                <a:rPr lang="en-GB" sz="2000" baseline="-25000">
                  <a:solidFill>
                    <a:srgbClr val="002060"/>
                  </a:solidFill>
                  <a:latin typeface="Arial Black" panose="020B0A04020102020204" pitchFamily="34" charset="0"/>
                </a:rPr>
              </a:br>
              <a:r>
                <a:rPr lang="en-GB" sz="2000" baseline="-25000" err="1">
                  <a:solidFill>
                    <a:srgbClr val="002060"/>
                  </a:solidFill>
                  <a:latin typeface="Arial Black" panose="020B0A04020102020204" pitchFamily="34" charset="0"/>
                </a:rPr>
                <a:t>Caramelin</a:t>
              </a:r>
              <a:endParaRPr lang="en-GB" sz="1050" baseline="-25000">
                <a:solidFill>
                  <a:srgbClr val="002060"/>
                </a:solidFill>
                <a:latin typeface="Arial" panose="020B0604020202020204" pitchFamily="34" charset="0"/>
                <a:cs typeface="Arial" panose="020B0604020202020204" pitchFamily="34" charset="0"/>
              </a:endParaRPr>
            </a:p>
          </p:txBody>
        </p:sp>
      </p:grpSp>
      <p:sp>
        <p:nvSpPr>
          <p:cNvPr id="50" name="TextBox 49">
            <a:extLst>
              <a:ext uri="{FF2B5EF4-FFF2-40B4-BE49-F238E27FC236}">
                <a16:creationId xmlns:a16="http://schemas.microsoft.com/office/drawing/2014/main" id="{6DD81FE3-9AA0-CD99-EB0F-DAD4A8A8571A}"/>
              </a:ext>
            </a:extLst>
          </p:cNvPr>
          <p:cNvSpPr txBox="1"/>
          <p:nvPr/>
        </p:nvSpPr>
        <p:spPr>
          <a:xfrm>
            <a:off x="7367647" y="2459204"/>
            <a:ext cx="4046899" cy="369332"/>
          </a:xfrm>
          <a:prstGeom prst="rect">
            <a:avLst/>
          </a:prstGeom>
          <a:noFill/>
        </p:spPr>
        <p:txBody>
          <a:bodyPr wrap="square" rtlCol="0">
            <a:spAutoFit/>
          </a:bodyPr>
          <a:lstStyle/>
          <a:p>
            <a:r>
              <a:rPr lang="en-GB">
                <a:solidFill>
                  <a:srgbClr val="FF0000"/>
                </a:solidFill>
              </a:rPr>
              <a:t>Complex polymers (colour and structure)</a:t>
            </a:r>
          </a:p>
        </p:txBody>
      </p:sp>
      <p:sp>
        <p:nvSpPr>
          <p:cNvPr id="51" name="TextBox 50">
            <a:extLst>
              <a:ext uri="{FF2B5EF4-FFF2-40B4-BE49-F238E27FC236}">
                <a16:creationId xmlns:a16="http://schemas.microsoft.com/office/drawing/2014/main" id="{79D2A382-FBB1-B9E4-4312-2CBCB1C4473B}"/>
              </a:ext>
            </a:extLst>
          </p:cNvPr>
          <p:cNvSpPr txBox="1"/>
          <p:nvPr/>
        </p:nvSpPr>
        <p:spPr>
          <a:xfrm>
            <a:off x="7411183" y="4001760"/>
            <a:ext cx="4046899" cy="369332"/>
          </a:xfrm>
          <a:prstGeom prst="rect">
            <a:avLst/>
          </a:prstGeom>
          <a:noFill/>
        </p:spPr>
        <p:txBody>
          <a:bodyPr wrap="square" rtlCol="0">
            <a:spAutoFit/>
          </a:bodyPr>
          <a:lstStyle/>
          <a:p>
            <a:r>
              <a:rPr lang="en-GB">
                <a:solidFill>
                  <a:srgbClr val="FF0000"/>
                </a:solidFill>
              </a:rPr>
              <a:t>Volatile compounds (smell and flavour)</a:t>
            </a:r>
          </a:p>
        </p:txBody>
      </p:sp>
    </p:spTree>
    <p:extLst>
      <p:ext uri="{BB962C8B-B14F-4D97-AF65-F5344CB8AC3E}">
        <p14:creationId xmlns:p14="http://schemas.microsoft.com/office/powerpoint/2010/main" val="3446911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a:t>Caramelisation - continued</a:t>
            </a:r>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7" y="2571092"/>
            <a:ext cx="5629875" cy="3600000"/>
          </a:xfrm>
        </p:spPr>
        <p:txBody>
          <a:bodyPr/>
          <a:lstStyle/>
          <a:p>
            <a:pPr marL="0" indent="0">
              <a:buNone/>
            </a:pPr>
            <a:r>
              <a:rPr lang="en-GB"/>
              <a:t>Caramelisation can occur in foods that naturally contain sugar, such as some fruits and vegetables. </a:t>
            </a:r>
          </a:p>
          <a:p>
            <a:pPr marL="0" indent="0">
              <a:buNone/>
            </a:pPr>
            <a:r>
              <a:rPr lang="en-GB"/>
              <a:t>Caramelisation of onions and carrots is common. Sometimes, additional sugar is added to increase the degree of caramelisation.</a:t>
            </a:r>
          </a:p>
          <a:p>
            <a:pPr marL="0" indent="0">
              <a:buNone/>
            </a:pPr>
            <a:endParaRPr lang="en-GB"/>
          </a:p>
          <a:p>
            <a:pPr marL="0" indent="0">
              <a:buNone/>
            </a:pPr>
            <a:endParaRPr lang="en-GB"/>
          </a:p>
          <a:p>
            <a:pPr marL="0" indent="0">
              <a:buNone/>
            </a:pPr>
            <a:endParaRPr lang="en-GB"/>
          </a:p>
          <a:p>
            <a:pPr marL="0" indent="0">
              <a:buNone/>
            </a:pPr>
            <a:endParaRPr lang="en-GB"/>
          </a:p>
          <a:p>
            <a:endParaRPr lang="en-GB"/>
          </a:p>
          <a:p>
            <a:pPr marL="0" indent="0">
              <a:buNone/>
            </a:pPr>
            <a:endParaRPr lang="en-GB"/>
          </a:p>
          <a:p>
            <a:pPr marL="0" indent="0">
              <a:buNone/>
            </a:pPr>
            <a:endParaRPr lang="en-GB"/>
          </a:p>
        </p:txBody>
      </p:sp>
      <p:pic>
        <p:nvPicPr>
          <p:cNvPr id="4" name="Picture 3" descr="A group of carrots&#10;&#10;Description automatically generated with low confidence">
            <a:extLst>
              <a:ext uri="{FF2B5EF4-FFF2-40B4-BE49-F238E27FC236}">
                <a16:creationId xmlns:a16="http://schemas.microsoft.com/office/drawing/2014/main" id="{57BE8BEA-34AE-6BDE-5CF9-8D5C042B2185}"/>
              </a:ext>
            </a:extLst>
          </p:cNvPr>
          <p:cNvPicPr>
            <a:picLocks noChangeAspect="1"/>
          </p:cNvPicPr>
          <p:nvPr/>
        </p:nvPicPr>
        <p:blipFill>
          <a:blip r:embed="rId2"/>
          <a:stretch>
            <a:fillRect/>
          </a:stretch>
        </p:blipFill>
        <p:spPr>
          <a:xfrm>
            <a:off x="7561281" y="2571092"/>
            <a:ext cx="3891351" cy="2918513"/>
          </a:xfrm>
          <a:prstGeom prst="rect">
            <a:avLst/>
          </a:prstGeom>
        </p:spPr>
      </p:pic>
    </p:spTree>
    <p:extLst>
      <p:ext uri="{BB962C8B-B14F-4D97-AF65-F5344CB8AC3E}">
        <p14:creationId xmlns:p14="http://schemas.microsoft.com/office/powerpoint/2010/main" val="13587189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ood, dish&#10;&#10;Description automatically generated">
            <a:extLst>
              <a:ext uri="{FF2B5EF4-FFF2-40B4-BE49-F238E27FC236}">
                <a16:creationId xmlns:a16="http://schemas.microsoft.com/office/drawing/2014/main" id="{617188A8-D3F8-46D2-906F-1CAEEFCE3417}"/>
              </a:ext>
            </a:extLst>
          </p:cNvPr>
          <p:cNvPicPr>
            <a:picLocks noChangeAspect="1"/>
          </p:cNvPicPr>
          <p:nvPr/>
        </p:nvPicPr>
        <p:blipFill>
          <a:blip r:embed="rId2"/>
          <a:stretch>
            <a:fillRect/>
          </a:stretch>
        </p:blipFill>
        <p:spPr>
          <a:xfrm>
            <a:off x="6622472" y="2948533"/>
            <a:ext cx="5439453" cy="2159463"/>
          </a:xfrm>
          <a:prstGeom prst="rect">
            <a:avLst/>
          </a:prstGeom>
        </p:spPr>
      </p:pic>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Maillard reaction</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453195"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The Maillard reaction is a reaction between ‘reducing’ sugars and amino acids (from protein).</a:t>
            </a:r>
          </a:p>
          <a:p>
            <a:pPr marL="0" indent="0">
              <a:buFont typeface="Arial" charset="0"/>
              <a:buNone/>
            </a:pPr>
            <a:r>
              <a:rPr lang="en-US"/>
              <a:t>In reality, the ‘reaction’ is a series of many reactions, with many different products.</a:t>
            </a:r>
          </a:p>
          <a:p>
            <a:pPr marL="0" indent="0">
              <a:buFont typeface="Arial" charset="0"/>
              <a:buNone/>
            </a:pPr>
            <a:r>
              <a:rPr lang="en-US"/>
              <a:t>These products are responsible for browning in many foods, notably cooked meats and baked goods.</a:t>
            </a:r>
          </a:p>
          <a:p>
            <a:pPr marL="0" indent="0">
              <a:buFont typeface="Arial" charset="0"/>
              <a:buNone/>
            </a:pPr>
            <a:endParaRPr lang="en-US"/>
          </a:p>
          <a:p>
            <a:pPr marL="0" indent="0">
              <a:buFont typeface="Arial" charset="0"/>
              <a:buNone/>
            </a:pPr>
            <a:endParaRPr lang="en-US"/>
          </a:p>
          <a:p>
            <a:pPr marL="0" indent="0">
              <a:buFont typeface="Arial" charset="0"/>
              <a:buNone/>
            </a:pPr>
            <a:endParaRPr lang="en-US"/>
          </a:p>
        </p:txBody>
      </p:sp>
    </p:spTree>
    <p:extLst>
      <p:ext uri="{BB962C8B-B14F-4D97-AF65-F5344CB8AC3E}">
        <p14:creationId xmlns:p14="http://schemas.microsoft.com/office/powerpoint/2010/main" val="916145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Maillard reaction - conditions</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453195"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The Maillard reaction ideally takes place between 140-160°C.</a:t>
            </a:r>
          </a:p>
          <a:p>
            <a:pPr marL="0" indent="0">
              <a:buFont typeface="Arial" charset="0"/>
              <a:buNone/>
            </a:pPr>
            <a:r>
              <a:rPr lang="en-US"/>
              <a:t>Too much water activity can inhibit the reaction.  </a:t>
            </a:r>
          </a:p>
          <a:p>
            <a:pPr marL="0" indent="0">
              <a:buFont typeface="Arial" charset="0"/>
              <a:buNone/>
            </a:pPr>
            <a:r>
              <a:rPr lang="en-US"/>
              <a:t>At higher temperatures, </a:t>
            </a:r>
            <a:r>
              <a:rPr lang="en-US" err="1"/>
              <a:t>caramelisation</a:t>
            </a:r>
            <a:r>
              <a:rPr lang="en-US"/>
              <a:t> increases, which can inhibit Maillard reactions, due to lower reducing sugar availability.</a:t>
            </a:r>
          </a:p>
          <a:p>
            <a:pPr marL="0" indent="0">
              <a:buFont typeface="Arial" charset="0"/>
              <a:buNone/>
            </a:pPr>
            <a:endParaRPr lang="en-US"/>
          </a:p>
          <a:p>
            <a:pPr marL="0" indent="0">
              <a:buFont typeface="Arial" charset="0"/>
              <a:buNone/>
            </a:pPr>
            <a:endParaRPr lang="en-US"/>
          </a:p>
        </p:txBody>
      </p:sp>
      <p:pic>
        <p:nvPicPr>
          <p:cNvPr id="8" name="Picture 7">
            <a:extLst>
              <a:ext uri="{FF2B5EF4-FFF2-40B4-BE49-F238E27FC236}">
                <a16:creationId xmlns:a16="http://schemas.microsoft.com/office/drawing/2014/main" id="{68636095-6DBD-1F2C-2D1C-6CF653DC410C}"/>
              </a:ext>
            </a:extLst>
          </p:cNvPr>
          <p:cNvPicPr>
            <a:picLocks noChangeAspect="1"/>
          </p:cNvPicPr>
          <p:nvPr/>
        </p:nvPicPr>
        <p:blipFill>
          <a:blip r:embed="rId2"/>
          <a:stretch>
            <a:fillRect/>
          </a:stretch>
        </p:blipFill>
        <p:spPr>
          <a:xfrm>
            <a:off x="7922592" y="2283798"/>
            <a:ext cx="2866715" cy="3656524"/>
          </a:xfrm>
          <a:prstGeom prst="rect">
            <a:avLst/>
          </a:prstGeom>
        </p:spPr>
      </p:pic>
    </p:spTree>
    <p:extLst>
      <p:ext uri="{BB962C8B-B14F-4D97-AF65-F5344CB8AC3E}">
        <p14:creationId xmlns:p14="http://schemas.microsoft.com/office/powerpoint/2010/main" val="2190163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6277833" cy="3600000"/>
          </a:xfrm>
        </p:spPr>
        <p:txBody>
          <a:bodyPr/>
          <a:lstStyle/>
          <a:p>
            <a:pPr marL="0" indent="0">
              <a:buNone/>
            </a:pPr>
            <a:r>
              <a:rPr lang="en-US" dirty="0"/>
              <a:t>Non-enzymic browning refers to a number of different processes and reactions that can make foods ‘brown’.</a:t>
            </a:r>
          </a:p>
          <a:p>
            <a:pPr marL="0" indent="0">
              <a:buNone/>
            </a:pPr>
            <a:r>
              <a:rPr lang="en-US" dirty="0"/>
              <a:t>This pack will cover the following processes:</a:t>
            </a:r>
          </a:p>
          <a:p>
            <a:pPr marL="800100" lvl="1" indent="-342900" algn="l">
              <a:buFont typeface="Arial" panose="020B0604020202020204" pitchFamily="34" charset="0"/>
              <a:buChar char="•"/>
            </a:pPr>
            <a:r>
              <a:rPr lang="en-US" dirty="0">
                <a:latin typeface="Arial" panose="020B0604020202020204" pitchFamily="34" charset="0"/>
                <a:cs typeface="Arial" panose="020B0604020202020204" pitchFamily="34" charset="0"/>
              </a:rPr>
              <a:t>the Maillard reaction;</a:t>
            </a:r>
          </a:p>
          <a:p>
            <a:pPr marL="800100" lvl="1" indent="-342900" algn="l">
              <a:buFont typeface="Arial" panose="020B0604020202020204" pitchFamily="34" charset="0"/>
              <a:buChar char="•"/>
            </a:pPr>
            <a:r>
              <a:rPr lang="en-US" dirty="0" err="1">
                <a:latin typeface="Arial" panose="020B0604020202020204" pitchFamily="34" charset="0"/>
                <a:cs typeface="Arial" panose="020B0604020202020204" pitchFamily="34" charset="0"/>
              </a:rPr>
              <a:t>caramelisation</a:t>
            </a:r>
            <a:r>
              <a:rPr lang="en-US" dirty="0">
                <a:latin typeface="Arial" panose="020B0604020202020204" pitchFamily="34" charset="0"/>
                <a:cs typeface="Arial" panose="020B0604020202020204" pitchFamily="34" charset="0"/>
              </a:rPr>
              <a:t>;</a:t>
            </a:r>
          </a:p>
          <a:p>
            <a:pPr marL="800100" lvl="1" indent="-342900" algn="l">
              <a:buFont typeface="Arial" panose="020B0604020202020204" pitchFamily="34" charset="0"/>
              <a:buChar char="•"/>
            </a:pPr>
            <a:r>
              <a:rPr lang="en-US" dirty="0" err="1">
                <a:latin typeface="Arial" panose="020B0604020202020204" pitchFamily="34" charset="0"/>
                <a:cs typeface="Arial" panose="020B0604020202020204" pitchFamily="34" charset="0"/>
              </a:rPr>
              <a:t>dextrinisation</a:t>
            </a:r>
            <a:r>
              <a:rPr lang="en-US" dirty="0">
                <a:latin typeface="Arial" panose="020B0604020202020204" pitchFamily="34" charset="0"/>
                <a:cs typeface="Arial" panose="020B0604020202020204" pitchFamily="34" charset="0"/>
              </a:rPr>
              <a:t>.</a:t>
            </a:r>
          </a:p>
          <a:p>
            <a:pPr marL="0" indent="0">
              <a:buNone/>
            </a:pPr>
            <a:r>
              <a:rPr lang="en-US" dirty="0"/>
              <a:t>Enzymic browning will be covered in a separate pack.</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a:extLst>
              <a:ext uri="{FF2B5EF4-FFF2-40B4-BE49-F238E27FC236}">
                <a16:creationId xmlns:a16="http://schemas.microsoft.com/office/drawing/2014/main" id="{BB9163DA-5B4C-6E73-971D-7ED0D7BF1006}"/>
              </a:ext>
            </a:extLst>
          </p:cNvPr>
          <p:cNvPicPr>
            <a:picLocks noChangeAspect="1"/>
          </p:cNvPicPr>
          <p:nvPr/>
        </p:nvPicPr>
        <p:blipFill>
          <a:blip r:embed="rId2"/>
          <a:stretch>
            <a:fillRect/>
          </a:stretch>
        </p:blipFill>
        <p:spPr>
          <a:xfrm>
            <a:off x="8139859" y="2571092"/>
            <a:ext cx="3642086" cy="2432914"/>
          </a:xfrm>
          <a:prstGeom prst="rect">
            <a:avLst/>
          </a:prstGeom>
        </p:spPr>
      </p:pic>
    </p:spTree>
    <p:extLst>
      <p:ext uri="{BB962C8B-B14F-4D97-AF65-F5344CB8AC3E}">
        <p14:creationId xmlns:p14="http://schemas.microsoft.com/office/powerpoint/2010/main" val="2831772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Maillard reaction – flavour and aroma</a:t>
            </a:r>
          </a:p>
        </p:txBody>
      </p:sp>
      <p:grpSp>
        <p:nvGrpSpPr>
          <p:cNvPr id="68" name="Group 67">
            <a:extLst>
              <a:ext uri="{FF2B5EF4-FFF2-40B4-BE49-F238E27FC236}">
                <a16:creationId xmlns:a16="http://schemas.microsoft.com/office/drawing/2014/main" id="{FF79542B-1E56-4032-BCB5-7D6819E75744}"/>
              </a:ext>
            </a:extLst>
          </p:cNvPr>
          <p:cNvGrpSpPr/>
          <p:nvPr/>
        </p:nvGrpSpPr>
        <p:grpSpPr>
          <a:xfrm>
            <a:off x="5697954" y="2392853"/>
            <a:ext cx="1434135" cy="1080000"/>
            <a:chOff x="5915488" y="2594028"/>
            <a:chExt cx="1434135" cy="1080000"/>
          </a:xfrm>
        </p:grpSpPr>
        <p:sp>
          <p:nvSpPr>
            <p:cNvPr id="7" name="Hexagon 6">
              <a:extLst>
                <a:ext uri="{FF2B5EF4-FFF2-40B4-BE49-F238E27FC236}">
                  <a16:creationId xmlns:a16="http://schemas.microsoft.com/office/drawing/2014/main" id="{56F63FEB-B82B-48B4-8EE1-286E2C4CF4E1}"/>
                </a:ext>
              </a:extLst>
            </p:cNvPr>
            <p:cNvSpPr>
              <a:spLocks/>
            </p:cNvSpPr>
            <p:nvPr/>
          </p:nvSpPr>
          <p:spPr>
            <a:xfrm rot="5400000">
              <a:off x="6092556" y="2639028"/>
              <a:ext cx="1080000" cy="990000"/>
            </a:xfrm>
            <a:prstGeom prst="hex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EB980C21-0C5D-42D3-9CBF-FB15B885E6CD}"/>
                </a:ext>
              </a:extLst>
            </p:cNvPr>
            <p:cNvCxnSpPr>
              <a:cxnSpLocks/>
            </p:cNvCxnSpPr>
            <p:nvPr/>
          </p:nvCxnSpPr>
          <p:spPr>
            <a:xfrm flipV="1">
              <a:off x="6240598" y="2694107"/>
              <a:ext cx="371526" cy="17818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3D32E6C-270E-45E6-BA40-54258A66C5C3}"/>
                </a:ext>
              </a:extLst>
            </p:cNvPr>
            <p:cNvCxnSpPr>
              <a:cxnSpLocks/>
            </p:cNvCxnSpPr>
            <p:nvPr/>
          </p:nvCxnSpPr>
          <p:spPr>
            <a:xfrm flipV="1">
              <a:off x="7044234" y="2943275"/>
              <a:ext cx="0" cy="38916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BF20145-2C20-46E5-8ED2-A0DD9301A2A1}"/>
                </a:ext>
              </a:extLst>
            </p:cNvPr>
            <p:cNvCxnSpPr>
              <a:cxnSpLocks/>
            </p:cNvCxnSpPr>
            <p:nvPr/>
          </p:nvCxnSpPr>
          <p:spPr>
            <a:xfrm flipH="1" flipV="1">
              <a:off x="6236866" y="3386296"/>
              <a:ext cx="395690" cy="20237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306ED05-7ED8-4003-B3A6-7F796794AF70}"/>
                </a:ext>
              </a:extLst>
            </p:cNvPr>
            <p:cNvGrpSpPr/>
            <p:nvPr/>
          </p:nvGrpSpPr>
          <p:grpSpPr>
            <a:xfrm>
              <a:off x="6905488" y="2694107"/>
              <a:ext cx="444135" cy="307777"/>
              <a:chOff x="7661947" y="2818758"/>
              <a:chExt cx="444135" cy="307777"/>
            </a:xfrm>
          </p:grpSpPr>
          <p:sp>
            <p:nvSpPr>
              <p:cNvPr id="16" name="Rectangle 15">
                <a:extLst>
                  <a:ext uri="{FF2B5EF4-FFF2-40B4-BE49-F238E27FC236}">
                    <a16:creationId xmlns:a16="http://schemas.microsoft.com/office/drawing/2014/main" id="{422DC05F-7C56-4570-A6BD-74B6DC29914D}"/>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BF0D02B3-4C69-428F-9ED9-0F3900BC35F9}"/>
                  </a:ext>
                </a:extLst>
              </p:cNvPr>
              <p:cNvSpPr txBox="1"/>
              <p:nvPr/>
            </p:nvSpPr>
            <p:spPr>
              <a:xfrm>
                <a:off x="7661947" y="2818758"/>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N</a:t>
                </a:r>
              </a:p>
            </p:txBody>
          </p:sp>
        </p:grpSp>
        <p:grpSp>
          <p:nvGrpSpPr>
            <p:cNvPr id="27" name="Group 26">
              <a:extLst>
                <a:ext uri="{FF2B5EF4-FFF2-40B4-BE49-F238E27FC236}">
                  <a16:creationId xmlns:a16="http://schemas.microsoft.com/office/drawing/2014/main" id="{EB5FBA24-FCEB-4A14-B179-70C6A7170B4E}"/>
                </a:ext>
              </a:extLst>
            </p:cNvPr>
            <p:cNvGrpSpPr/>
            <p:nvPr/>
          </p:nvGrpSpPr>
          <p:grpSpPr>
            <a:xfrm>
              <a:off x="5915488" y="3298047"/>
              <a:ext cx="444135" cy="307777"/>
              <a:chOff x="7661947" y="2818758"/>
              <a:chExt cx="444135" cy="307777"/>
            </a:xfrm>
          </p:grpSpPr>
          <p:sp>
            <p:nvSpPr>
              <p:cNvPr id="28" name="Rectangle 27">
                <a:extLst>
                  <a:ext uri="{FF2B5EF4-FFF2-40B4-BE49-F238E27FC236}">
                    <a16:creationId xmlns:a16="http://schemas.microsoft.com/office/drawing/2014/main" id="{95C5975E-501D-42F6-8044-8BFDE00D33D7}"/>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28">
                <a:extLst>
                  <a:ext uri="{FF2B5EF4-FFF2-40B4-BE49-F238E27FC236}">
                    <a16:creationId xmlns:a16="http://schemas.microsoft.com/office/drawing/2014/main" id="{6EB899A9-ABCF-425F-9244-6E1B7A0871FA}"/>
                  </a:ext>
                </a:extLst>
              </p:cNvPr>
              <p:cNvSpPr txBox="1"/>
              <p:nvPr/>
            </p:nvSpPr>
            <p:spPr>
              <a:xfrm>
                <a:off x="7661947" y="2818758"/>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N</a:t>
                </a:r>
              </a:p>
            </p:txBody>
          </p:sp>
        </p:grpSp>
      </p:grpSp>
      <p:grpSp>
        <p:nvGrpSpPr>
          <p:cNvPr id="70" name="Group 69">
            <a:extLst>
              <a:ext uri="{FF2B5EF4-FFF2-40B4-BE49-F238E27FC236}">
                <a16:creationId xmlns:a16="http://schemas.microsoft.com/office/drawing/2014/main" id="{4B7F187D-9C31-43AF-A7C9-BBA9FE917DD2}"/>
              </a:ext>
            </a:extLst>
          </p:cNvPr>
          <p:cNvGrpSpPr/>
          <p:nvPr/>
        </p:nvGrpSpPr>
        <p:grpSpPr>
          <a:xfrm>
            <a:off x="10269152" y="1852459"/>
            <a:ext cx="1631823" cy="1620394"/>
            <a:chOff x="10164129" y="2130777"/>
            <a:chExt cx="1631823" cy="1620394"/>
          </a:xfrm>
        </p:grpSpPr>
        <p:sp>
          <p:nvSpPr>
            <p:cNvPr id="30" name="Hexagon 29">
              <a:extLst>
                <a:ext uri="{FF2B5EF4-FFF2-40B4-BE49-F238E27FC236}">
                  <a16:creationId xmlns:a16="http://schemas.microsoft.com/office/drawing/2014/main" id="{0BA830F7-F37C-4117-9542-5D229C34295B}"/>
                </a:ext>
              </a:extLst>
            </p:cNvPr>
            <p:cNvSpPr>
              <a:spLocks/>
            </p:cNvSpPr>
            <p:nvPr/>
          </p:nvSpPr>
          <p:spPr>
            <a:xfrm rot="5400000">
              <a:off x="10760952" y="2716171"/>
              <a:ext cx="1080000" cy="990000"/>
            </a:xfrm>
            <a:prstGeom prst="hex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1" name="Straight Connector 30">
              <a:extLst>
                <a:ext uri="{FF2B5EF4-FFF2-40B4-BE49-F238E27FC236}">
                  <a16:creationId xmlns:a16="http://schemas.microsoft.com/office/drawing/2014/main" id="{E5AD4DC4-7532-4AFD-84D2-5F28BA52E76B}"/>
                </a:ext>
              </a:extLst>
            </p:cNvPr>
            <p:cNvCxnSpPr>
              <a:cxnSpLocks/>
            </p:cNvCxnSpPr>
            <p:nvPr/>
          </p:nvCxnSpPr>
          <p:spPr>
            <a:xfrm flipV="1">
              <a:off x="10908994" y="2771250"/>
              <a:ext cx="371526" cy="17818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4B00D5-610A-4DF3-97A6-B0C79DD2E03E}"/>
                </a:ext>
              </a:extLst>
            </p:cNvPr>
            <p:cNvCxnSpPr>
              <a:cxnSpLocks/>
            </p:cNvCxnSpPr>
            <p:nvPr/>
          </p:nvCxnSpPr>
          <p:spPr>
            <a:xfrm flipV="1">
              <a:off x="11712630" y="3020418"/>
              <a:ext cx="0" cy="38916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F2A4CEF-7DA7-495D-A9BF-6FD58F13FDBB}"/>
                </a:ext>
              </a:extLst>
            </p:cNvPr>
            <p:cNvCxnSpPr>
              <a:cxnSpLocks/>
            </p:cNvCxnSpPr>
            <p:nvPr/>
          </p:nvCxnSpPr>
          <p:spPr>
            <a:xfrm flipH="1" flipV="1">
              <a:off x="10905262" y="3463439"/>
              <a:ext cx="395690" cy="20237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0E16435-EE55-4EBB-B88E-7F283A85B0E9}"/>
                </a:ext>
              </a:extLst>
            </p:cNvPr>
            <p:cNvGrpSpPr/>
            <p:nvPr/>
          </p:nvGrpSpPr>
          <p:grpSpPr>
            <a:xfrm>
              <a:off x="10583884" y="3375190"/>
              <a:ext cx="444135" cy="307777"/>
              <a:chOff x="7661947" y="2818758"/>
              <a:chExt cx="444135" cy="307777"/>
            </a:xfrm>
          </p:grpSpPr>
          <p:sp>
            <p:nvSpPr>
              <p:cNvPr id="38" name="Rectangle 37">
                <a:extLst>
                  <a:ext uri="{FF2B5EF4-FFF2-40B4-BE49-F238E27FC236}">
                    <a16:creationId xmlns:a16="http://schemas.microsoft.com/office/drawing/2014/main" id="{318A14B4-8955-4403-A95A-ADE01F1FB245}"/>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Box 38">
                <a:extLst>
                  <a:ext uri="{FF2B5EF4-FFF2-40B4-BE49-F238E27FC236}">
                    <a16:creationId xmlns:a16="http://schemas.microsoft.com/office/drawing/2014/main" id="{25E6094B-B824-4171-9F21-C5C0BAA42C2E}"/>
                  </a:ext>
                </a:extLst>
              </p:cNvPr>
              <p:cNvSpPr txBox="1"/>
              <p:nvPr/>
            </p:nvSpPr>
            <p:spPr>
              <a:xfrm>
                <a:off x="7661947" y="2818758"/>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N</a:t>
                </a:r>
              </a:p>
            </p:txBody>
          </p:sp>
        </p:grpSp>
        <p:grpSp>
          <p:nvGrpSpPr>
            <p:cNvPr id="48" name="Group 47">
              <a:extLst>
                <a:ext uri="{FF2B5EF4-FFF2-40B4-BE49-F238E27FC236}">
                  <a16:creationId xmlns:a16="http://schemas.microsoft.com/office/drawing/2014/main" id="{ECDA3973-F965-4D20-ADB8-6E3FCCBFAEB8}"/>
                </a:ext>
              </a:extLst>
            </p:cNvPr>
            <p:cNvGrpSpPr/>
            <p:nvPr/>
          </p:nvGrpSpPr>
          <p:grpSpPr>
            <a:xfrm>
              <a:off x="10164129" y="2130777"/>
              <a:ext cx="551822" cy="787894"/>
              <a:chOff x="8241693" y="2511094"/>
              <a:chExt cx="551822" cy="787894"/>
            </a:xfrm>
          </p:grpSpPr>
          <p:cxnSp>
            <p:nvCxnSpPr>
              <p:cNvPr id="44" name="Straight Connector 43">
                <a:extLst>
                  <a:ext uri="{FF2B5EF4-FFF2-40B4-BE49-F238E27FC236}">
                    <a16:creationId xmlns:a16="http://schemas.microsoft.com/office/drawing/2014/main" id="{A781A061-2EF3-4847-A5FA-772D4E0EEDDB}"/>
                  </a:ext>
                </a:extLst>
              </p:cNvPr>
              <p:cNvCxnSpPr>
                <a:cxnSpLocks/>
              </p:cNvCxnSpPr>
              <p:nvPr/>
            </p:nvCxnSpPr>
            <p:spPr>
              <a:xfrm flipV="1">
                <a:off x="8241693" y="3051488"/>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6798BD1-2046-4FBA-AF61-BCC36BDCB354}"/>
                  </a:ext>
                </a:extLst>
              </p:cNvPr>
              <p:cNvCxnSpPr>
                <a:cxnSpLocks/>
              </p:cNvCxnSpPr>
              <p:nvPr/>
            </p:nvCxnSpPr>
            <p:spPr>
              <a:xfrm flipV="1">
                <a:off x="854454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919EB55-0CF6-4A84-86AA-EB1E3F328169}"/>
                  </a:ext>
                </a:extLst>
              </p:cNvPr>
              <p:cNvCxnSpPr>
                <a:cxnSpLocks/>
              </p:cNvCxnSpPr>
              <p:nvPr/>
            </p:nvCxnSpPr>
            <p:spPr>
              <a:xfrm flipV="1">
                <a:off x="858301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2E22F1B-1338-4B95-AAC6-42015826A94F}"/>
                  </a:ext>
                </a:extLst>
              </p:cNvPr>
              <p:cNvSpPr txBox="1"/>
              <p:nvPr/>
            </p:nvSpPr>
            <p:spPr>
              <a:xfrm>
                <a:off x="8349380" y="2511094"/>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a:t>
                </a:r>
              </a:p>
            </p:txBody>
          </p:sp>
        </p:grpSp>
        <p:cxnSp>
          <p:nvCxnSpPr>
            <p:cNvPr id="49" name="Straight Connector 48">
              <a:extLst>
                <a:ext uri="{FF2B5EF4-FFF2-40B4-BE49-F238E27FC236}">
                  <a16:creationId xmlns:a16="http://schemas.microsoft.com/office/drawing/2014/main" id="{9992D3EA-AD0D-464E-8806-235F7495670A}"/>
                </a:ext>
              </a:extLst>
            </p:cNvPr>
            <p:cNvCxnSpPr>
              <a:cxnSpLocks/>
            </p:cNvCxnSpPr>
            <p:nvPr/>
          </p:nvCxnSpPr>
          <p:spPr>
            <a:xfrm flipH="1" flipV="1">
              <a:off x="10503104" y="2671171"/>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D92B2062-DC69-489E-82BB-7A1BB81D5D3F}"/>
              </a:ext>
            </a:extLst>
          </p:cNvPr>
          <p:cNvGrpSpPr/>
          <p:nvPr/>
        </p:nvGrpSpPr>
        <p:grpSpPr>
          <a:xfrm>
            <a:off x="8490422" y="2163226"/>
            <a:ext cx="1622705" cy="1309627"/>
            <a:chOff x="8297962" y="2454917"/>
            <a:chExt cx="1622705" cy="1309627"/>
          </a:xfrm>
        </p:grpSpPr>
        <p:sp>
          <p:nvSpPr>
            <p:cNvPr id="54" name="Hexagon 53">
              <a:extLst>
                <a:ext uri="{FF2B5EF4-FFF2-40B4-BE49-F238E27FC236}">
                  <a16:creationId xmlns:a16="http://schemas.microsoft.com/office/drawing/2014/main" id="{75D89F36-85BC-4888-A47B-2F28F1086B58}"/>
                </a:ext>
              </a:extLst>
            </p:cNvPr>
            <p:cNvSpPr>
              <a:spLocks/>
            </p:cNvSpPr>
            <p:nvPr/>
          </p:nvSpPr>
          <p:spPr>
            <a:xfrm rot="5400000">
              <a:off x="8885667" y="2729544"/>
              <a:ext cx="1080000" cy="990000"/>
            </a:xfrm>
            <a:prstGeom prst="hex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5" name="Straight Connector 54">
              <a:extLst>
                <a:ext uri="{FF2B5EF4-FFF2-40B4-BE49-F238E27FC236}">
                  <a16:creationId xmlns:a16="http://schemas.microsoft.com/office/drawing/2014/main" id="{9A203EC1-F539-4691-8B9C-B3C6F40F0425}"/>
                </a:ext>
              </a:extLst>
            </p:cNvPr>
            <p:cNvCxnSpPr>
              <a:cxnSpLocks/>
            </p:cNvCxnSpPr>
            <p:nvPr/>
          </p:nvCxnSpPr>
          <p:spPr>
            <a:xfrm flipV="1">
              <a:off x="9033709" y="2784623"/>
              <a:ext cx="371526" cy="17818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18CB9D-9B2C-492F-82AA-9C909064C3D9}"/>
                </a:ext>
              </a:extLst>
            </p:cNvPr>
            <p:cNvCxnSpPr>
              <a:cxnSpLocks/>
            </p:cNvCxnSpPr>
            <p:nvPr/>
          </p:nvCxnSpPr>
          <p:spPr>
            <a:xfrm flipV="1">
              <a:off x="9837345" y="3033791"/>
              <a:ext cx="0" cy="38916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D5D7905-8ED8-498E-9C81-257354A17F89}"/>
                </a:ext>
              </a:extLst>
            </p:cNvPr>
            <p:cNvCxnSpPr>
              <a:cxnSpLocks/>
            </p:cNvCxnSpPr>
            <p:nvPr/>
          </p:nvCxnSpPr>
          <p:spPr>
            <a:xfrm flipH="1" flipV="1">
              <a:off x="9029977" y="3476812"/>
              <a:ext cx="395690" cy="20237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37F0072-71C2-4B95-9EED-CBB89952DD11}"/>
                </a:ext>
              </a:extLst>
            </p:cNvPr>
            <p:cNvGrpSpPr/>
            <p:nvPr/>
          </p:nvGrpSpPr>
          <p:grpSpPr>
            <a:xfrm>
              <a:off x="8708599" y="3388563"/>
              <a:ext cx="444135" cy="307777"/>
              <a:chOff x="7661947" y="2818758"/>
              <a:chExt cx="444135" cy="307777"/>
            </a:xfrm>
          </p:grpSpPr>
          <p:sp>
            <p:nvSpPr>
              <p:cNvPr id="59" name="Rectangle 58">
                <a:extLst>
                  <a:ext uri="{FF2B5EF4-FFF2-40B4-BE49-F238E27FC236}">
                    <a16:creationId xmlns:a16="http://schemas.microsoft.com/office/drawing/2014/main" id="{F815B21D-7099-416A-96D9-1B1EAFAEA05E}"/>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TextBox 59">
                <a:extLst>
                  <a:ext uri="{FF2B5EF4-FFF2-40B4-BE49-F238E27FC236}">
                    <a16:creationId xmlns:a16="http://schemas.microsoft.com/office/drawing/2014/main" id="{B6FDB2DF-6E8A-4F51-89EA-6419DD1544AF}"/>
                  </a:ext>
                </a:extLst>
              </p:cNvPr>
              <p:cNvSpPr txBox="1"/>
              <p:nvPr/>
            </p:nvSpPr>
            <p:spPr>
              <a:xfrm>
                <a:off x="7661947" y="2818758"/>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N</a:t>
                </a:r>
              </a:p>
            </p:txBody>
          </p:sp>
        </p:grpSp>
        <p:cxnSp>
          <p:nvCxnSpPr>
            <p:cNvPr id="66" name="Straight Connector 65">
              <a:extLst>
                <a:ext uri="{FF2B5EF4-FFF2-40B4-BE49-F238E27FC236}">
                  <a16:creationId xmlns:a16="http://schemas.microsoft.com/office/drawing/2014/main" id="{5979A02E-1443-4274-A59E-7276AA41F2DC}"/>
                </a:ext>
              </a:extLst>
            </p:cNvPr>
            <p:cNvCxnSpPr>
              <a:cxnSpLocks/>
            </p:cNvCxnSpPr>
            <p:nvPr/>
          </p:nvCxnSpPr>
          <p:spPr>
            <a:xfrm flipH="1" flipV="1">
              <a:off x="8627819" y="2684544"/>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E28E92EF-075E-40C1-86A6-5269802A2E1D}"/>
                </a:ext>
              </a:extLst>
            </p:cNvPr>
            <p:cNvSpPr txBox="1"/>
            <p:nvPr/>
          </p:nvSpPr>
          <p:spPr>
            <a:xfrm>
              <a:off x="8297962" y="2454917"/>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R</a:t>
              </a:r>
            </a:p>
          </p:txBody>
        </p:sp>
      </p:grpSp>
      <p:grpSp>
        <p:nvGrpSpPr>
          <p:cNvPr id="131" name="Group 130">
            <a:extLst>
              <a:ext uri="{FF2B5EF4-FFF2-40B4-BE49-F238E27FC236}">
                <a16:creationId xmlns:a16="http://schemas.microsoft.com/office/drawing/2014/main" id="{1C79A926-057C-4734-B88E-20E0E32CE117}"/>
              </a:ext>
            </a:extLst>
          </p:cNvPr>
          <p:cNvGrpSpPr/>
          <p:nvPr/>
        </p:nvGrpSpPr>
        <p:grpSpPr>
          <a:xfrm>
            <a:off x="7496063" y="2254123"/>
            <a:ext cx="1284376" cy="1218730"/>
            <a:chOff x="7384427" y="2583362"/>
            <a:chExt cx="1284376" cy="1218730"/>
          </a:xfrm>
        </p:grpSpPr>
        <p:sp>
          <p:nvSpPr>
            <p:cNvPr id="71" name="Pentagon 70">
              <a:extLst>
                <a:ext uri="{FF2B5EF4-FFF2-40B4-BE49-F238E27FC236}">
                  <a16:creationId xmlns:a16="http://schemas.microsoft.com/office/drawing/2014/main" id="{2909A52D-0D89-4FF4-B21E-03AE7B9081C7}"/>
                </a:ext>
              </a:extLst>
            </p:cNvPr>
            <p:cNvSpPr>
              <a:spLocks noChangeAspect="1"/>
            </p:cNvSpPr>
            <p:nvPr/>
          </p:nvSpPr>
          <p:spPr>
            <a:xfrm rot="10800000">
              <a:off x="7384427" y="2812092"/>
              <a:ext cx="1080000" cy="990000"/>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2" name="Straight Connector 71">
              <a:extLst>
                <a:ext uri="{FF2B5EF4-FFF2-40B4-BE49-F238E27FC236}">
                  <a16:creationId xmlns:a16="http://schemas.microsoft.com/office/drawing/2014/main" id="{42F83D22-669B-4D73-964B-141395240B1F}"/>
                </a:ext>
              </a:extLst>
            </p:cNvPr>
            <p:cNvCxnSpPr>
              <a:cxnSpLocks/>
            </p:cNvCxnSpPr>
            <p:nvPr/>
          </p:nvCxnSpPr>
          <p:spPr>
            <a:xfrm flipV="1">
              <a:off x="7487486" y="2920624"/>
              <a:ext cx="156554" cy="44859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6270888-4B55-4D96-B7AE-E12E592576B6}"/>
                </a:ext>
              </a:extLst>
            </p:cNvPr>
            <p:cNvCxnSpPr>
              <a:cxnSpLocks/>
            </p:cNvCxnSpPr>
            <p:nvPr/>
          </p:nvCxnSpPr>
          <p:spPr>
            <a:xfrm flipV="1">
              <a:off x="7962494" y="3409122"/>
              <a:ext cx="390125" cy="2867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925C6919-CD55-4CE9-95E1-9E1D915FEDAF}"/>
                </a:ext>
              </a:extLst>
            </p:cNvPr>
            <p:cNvGrpSpPr/>
            <p:nvPr/>
          </p:nvGrpSpPr>
          <p:grpSpPr>
            <a:xfrm>
              <a:off x="8023432" y="2583362"/>
              <a:ext cx="645371" cy="523220"/>
              <a:chOff x="8023432" y="2583362"/>
              <a:chExt cx="645371" cy="523220"/>
            </a:xfrm>
          </p:grpSpPr>
          <p:sp>
            <p:nvSpPr>
              <p:cNvPr id="82" name="Rectangle 81">
                <a:extLst>
                  <a:ext uri="{FF2B5EF4-FFF2-40B4-BE49-F238E27FC236}">
                    <a16:creationId xmlns:a16="http://schemas.microsoft.com/office/drawing/2014/main" id="{B23F807B-3CE0-4226-A926-90E25D0D7B00}"/>
                  </a:ext>
                </a:extLst>
              </p:cNvPr>
              <p:cNvSpPr/>
              <p:nvPr/>
            </p:nvSpPr>
            <p:spPr>
              <a:xfrm>
                <a:off x="8126310" y="2726174"/>
                <a:ext cx="475441" cy="237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Box 80">
                <a:extLst>
                  <a:ext uri="{FF2B5EF4-FFF2-40B4-BE49-F238E27FC236}">
                    <a16:creationId xmlns:a16="http://schemas.microsoft.com/office/drawing/2014/main" id="{4379812B-5466-4731-8856-348D2BB15FA0}"/>
                  </a:ext>
                </a:extLst>
              </p:cNvPr>
              <p:cNvSpPr txBox="1"/>
              <p:nvPr/>
            </p:nvSpPr>
            <p:spPr>
              <a:xfrm>
                <a:off x="8023432" y="2583362"/>
                <a:ext cx="645371" cy="523220"/>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NH</a:t>
                </a:r>
              </a:p>
            </p:txBody>
          </p:sp>
        </p:grpSp>
      </p:grpSp>
      <p:grpSp>
        <p:nvGrpSpPr>
          <p:cNvPr id="128" name="Group 127">
            <a:extLst>
              <a:ext uri="{FF2B5EF4-FFF2-40B4-BE49-F238E27FC236}">
                <a16:creationId xmlns:a16="http://schemas.microsoft.com/office/drawing/2014/main" id="{71F0DA74-E8FD-445A-B6E9-DF20F45FD776}"/>
              </a:ext>
            </a:extLst>
          </p:cNvPr>
          <p:cNvGrpSpPr/>
          <p:nvPr/>
        </p:nvGrpSpPr>
        <p:grpSpPr>
          <a:xfrm>
            <a:off x="7468160" y="4441127"/>
            <a:ext cx="1100260" cy="1130594"/>
            <a:chOff x="7521751" y="4497066"/>
            <a:chExt cx="1100260" cy="1130594"/>
          </a:xfrm>
        </p:grpSpPr>
        <p:sp>
          <p:nvSpPr>
            <p:cNvPr id="91" name="Pentagon 90">
              <a:extLst>
                <a:ext uri="{FF2B5EF4-FFF2-40B4-BE49-F238E27FC236}">
                  <a16:creationId xmlns:a16="http://schemas.microsoft.com/office/drawing/2014/main" id="{5458F3B9-B90B-46B4-8401-2DB89FB28C93}"/>
                </a:ext>
              </a:extLst>
            </p:cNvPr>
            <p:cNvSpPr>
              <a:spLocks noChangeAspect="1"/>
            </p:cNvSpPr>
            <p:nvPr/>
          </p:nvSpPr>
          <p:spPr>
            <a:xfrm rot="10800000">
              <a:off x="7521751" y="4637660"/>
              <a:ext cx="1080000" cy="990000"/>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2" name="Straight Connector 91">
              <a:extLst>
                <a:ext uri="{FF2B5EF4-FFF2-40B4-BE49-F238E27FC236}">
                  <a16:creationId xmlns:a16="http://schemas.microsoft.com/office/drawing/2014/main" id="{46409261-B41C-4C3C-8EEA-FC16981C64E7}"/>
                </a:ext>
              </a:extLst>
            </p:cNvPr>
            <p:cNvCxnSpPr>
              <a:cxnSpLocks/>
            </p:cNvCxnSpPr>
            <p:nvPr/>
          </p:nvCxnSpPr>
          <p:spPr>
            <a:xfrm flipV="1">
              <a:off x="7624810" y="4746192"/>
              <a:ext cx="156554" cy="44859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AD47425-968E-40A8-B384-F7250B7A7DFE}"/>
                </a:ext>
              </a:extLst>
            </p:cNvPr>
            <p:cNvCxnSpPr>
              <a:cxnSpLocks/>
            </p:cNvCxnSpPr>
            <p:nvPr/>
          </p:nvCxnSpPr>
          <p:spPr>
            <a:xfrm flipV="1">
              <a:off x="8099818" y="5234690"/>
              <a:ext cx="390125" cy="2867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8499359A-611D-4A4D-95EB-76785CB2DFD3}"/>
                </a:ext>
              </a:extLst>
            </p:cNvPr>
            <p:cNvSpPr/>
            <p:nvPr/>
          </p:nvSpPr>
          <p:spPr>
            <a:xfrm>
              <a:off x="8309943" y="4560954"/>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TextBox 112">
              <a:extLst>
                <a:ext uri="{FF2B5EF4-FFF2-40B4-BE49-F238E27FC236}">
                  <a16:creationId xmlns:a16="http://schemas.microsoft.com/office/drawing/2014/main" id="{546C3D79-73D4-4E5B-8113-3F401859F6DA}"/>
                </a:ext>
              </a:extLst>
            </p:cNvPr>
            <p:cNvSpPr txBox="1"/>
            <p:nvPr/>
          </p:nvSpPr>
          <p:spPr>
            <a:xfrm>
              <a:off x="8177876" y="4497066"/>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O</a:t>
              </a:r>
            </a:p>
          </p:txBody>
        </p:sp>
      </p:grpSp>
      <p:grpSp>
        <p:nvGrpSpPr>
          <p:cNvPr id="130" name="Group 129">
            <a:extLst>
              <a:ext uri="{FF2B5EF4-FFF2-40B4-BE49-F238E27FC236}">
                <a16:creationId xmlns:a16="http://schemas.microsoft.com/office/drawing/2014/main" id="{EB12B053-9695-4784-8A7C-B2E66EFABF8B}"/>
              </a:ext>
            </a:extLst>
          </p:cNvPr>
          <p:cNvGrpSpPr/>
          <p:nvPr/>
        </p:nvGrpSpPr>
        <p:grpSpPr>
          <a:xfrm>
            <a:off x="9145680" y="4439209"/>
            <a:ext cx="1071623" cy="1127421"/>
            <a:chOff x="10835828" y="4497066"/>
            <a:chExt cx="1071623" cy="1127421"/>
          </a:xfrm>
        </p:grpSpPr>
        <p:grpSp>
          <p:nvGrpSpPr>
            <p:cNvPr id="109" name="Group 108">
              <a:extLst>
                <a:ext uri="{FF2B5EF4-FFF2-40B4-BE49-F238E27FC236}">
                  <a16:creationId xmlns:a16="http://schemas.microsoft.com/office/drawing/2014/main" id="{FB9B3D94-A14F-48B6-A292-FDC29440668C}"/>
                </a:ext>
              </a:extLst>
            </p:cNvPr>
            <p:cNvGrpSpPr/>
            <p:nvPr/>
          </p:nvGrpSpPr>
          <p:grpSpPr>
            <a:xfrm rot="17227546">
              <a:off x="10872451" y="4589487"/>
              <a:ext cx="1080000" cy="990000"/>
              <a:chOff x="10872451" y="4589487"/>
              <a:chExt cx="1080000" cy="990000"/>
            </a:xfrm>
          </p:grpSpPr>
          <p:sp>
            <p:nvSpPr>
              <p:cNvPr id="103" name="Pentagon 102">
                <a:extLst>
                  <a:ext uri="{FF2B5EF4-FFF2-40B4-BE49-F238E27FC236}">
                    <a16:creationId xmlns:a16="http://schemas.microsoft.com/office/drawing/2014/main" id="{5686AC8C-D6F0-45DE-82F9-7351C635AD3A}"/>
                  </a:ext>
                </a:extLst>
              </p:cNvPr>
              <p:cNvSpPr>
                <a:spLocks noChangeAspect="1"/>
              </p:cNvSpPr>
              <p:nvPr/>
            </p:nvSpPr>
            <p:spPr>
              <a:xfrm rot="10800000">
                <a:off x="10872451" y="4589487"/>
                <a:ext cx="1080000" cy="990000"/>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4" name="Straight Connector 103">
                <a:extLst>
                  <a:ext uri="{FF2B5EF4-FFF2-40B4-BE49-F238E27FC236}">
                    <a16:creationId xmlns:a16="http://schemas.microsoft.com/office/drawing/2014/main" id="{4B5D210E-87D1-4226-8484-3621DBA6DB2C}"/>
                  </a:ext>
                </a:extLst>
              </p:cNvPr>
              <p:cNvCxnSpPr>
                <a:cxnSpLocks/>
              </p:cNvCxnSpPr>
              <p:nvPr/>
            </p:nvCxnSpPr>
            <p:spPr>
              <a:xfrm flipV="1">
                <a:off x="10975510" y="4698019"/>
                <a:ext cx="156554" cy="44859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59282283-1041-451A-8E33-6A268C20DE1A}"/>
                  </a:ext>
                </a:extLst>
              </p:cNvPr>
              <p:cNvCxnSpPr>
                <a:cxnSpLocks/>
              </p:cNvCxnSpPr>
              <p:nvPr/>
            </p:nvCxnSpPr>
            <p:spPr>
              <a:xfrm flipV="1">
                <a:off x="11450518" y="5186517"/>
                <a:ext cx="390125" cy="2867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16" name="Rectangle 115">
              <a:extLst>
                <a:ext uri="{FF2B5EF4-FFF2-40B4-BE49-F238E27FC236}">
                  <a16:creationId xmlns:a16="http://schemas.microsoft.com/office/drawing/2014/main" id="{98A43F0F-39C6-4382-AC3E-5BCACFC763BB}"/>
                </a:ext>
              </a:extLst>
            </p:cNvPr>
            <p:cNvSpPr/>
            <p:nvPr/>
          </p:nvSpPr>
          <p:spPr>
            <a:xfrm>
              <a:off x="10967895" y="4560954"/>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TextBox 116">
              <a:extLst>
                <a:ext uri="{FF2B5EF4-FFF2-40B4-BE49-F238E27FC236}">
                  <a16:creationId xmlns:a16="http://schemas.microsoft.com/office/drawing/2014/main" id="{3D2A9194-507F-4323-B625-C442699397CD}"/>
                </a:ext>
              </a:extLst>
            </p:cNvPr>
            <p:cNvSpPr txBox="1"/>
            <p:nvPr/>
          </p:nvSpPr>
          <p:spPr>
            <a:xfrm>
              <a:off x="10835828" y="4497066"/>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S</a:t>
              </a:r>
            </a:p>
          </p:txBody>
        </p:sp>
      </p:grpSp>
      <p:grpSp>
        <p:nvGrpSpPr>
          <p:cNvPr id="129" name="Group 128">
            <a:extLst>
              <a:ext uri="{FF2B5EF4-FFF2-40B4-BE49-F238E27FC236}">
                <a16:creationId xmlns:a16="http://schemas.microsoft.com/office/drawing/2014/main" id="{FACC789C-D04F-4418-833B-06ED3F12EDF3}"/>
              </a:ext>
            </a:extLst>
          </p:cNvPr>
          <p:cNvGrpSpPr/>
          <p:nvPr/>
        </p:nvGrpSpPr>
        <p:grpSpPr>
          <a:xfrm>
            <a:off x="10762377" y="4432562"/>
            <a:ext cx="1100260" cy="1266501"/>
            <a:chOff x="9184318" y="4497737"/>
            <a:chExt cx="1100260" cy="1266501"/>
          </a:xfrm>
        </p:grpSpPr>
        <p:sp>
          <p:nvSpPr>
            <p:cNvPr id="97" name="Pentagon 96">
              <a:extLst>
                <a:ext uri="{FF2B5EF4-FFF2-40B4-BE49-F238E27FC236}">
                  <a16:creationId xmlns:a16="http://schemas.microsoft.com/office/drawing/2014/main" id="{67FE2402-54F4-4FCF-8E6B-EC92B0BA0BCE}"/>
                </a:ext>
              </a:extLst>
            </p:cNvPr>
            <p:cNvSpPr>
              <a:spLocks noChangeAspect="1"/>
            </p:cNvSpPr>
            <p:nvPr/>
          </p:nvSpPr>
          <p:spPr>
            <a:xfrm rot="10800000">
              <a:off x="9184318" y="4637659"/>
              <a:ext cx="1080000" cy="990000"/>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8" name="Straight Connector 97">
              <a:extLst>
                <a:ext uri="{FF2B5EF4-FFF2-40B4-BE49-F238E27FC236}">
                  <a16:creationId xmlns:a16="http://schemas.microsoft.com/office/drawing/2014/main" id="{2E51F132-6D00-41E7-B805-86D49E8BCC97}"/>
                </a:ext>
              </a:extLst>
            </p:cNvPr>
            <p:cNvCxnSpPr>
              <a:cxnSpLocks/>
            </p:cNvCxnSpPr>
            <p:nvPr/>
          </p:nvCxnSpPr>
          <p:spPr>
            <a:xfrm flipV="1">
              <a:off x="9287377" y="4746191"/>
              <a:ext cx="156554" cy="44859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9A8B4E9-CD98-4F97-9913-0688DFA12FC6}"/>
                </a:ext>
              </a:extLst>
            </p:cNvPr>
            <p:cNvCxnSpPr>
              <a:cxnSpLocks/>
            </p:cNvCxnSpPr>
            <p:nvPr/>
          </p:nvCxnSpPr>
          <p:spPr>
            <a:xfrm flipV="1">
              <a:off x="9762385" y="5234689"/>
              <a:ext cx="390125" cy="2867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2BE57A40-330E-447B-82A3-2EB34951AEF1}"/>
                </a:ext>
              </a:extLst>
            </p:cNvPr>
            <p:cNvSpPr/>
            <p:nvPr/>
          </p:nvSpPr>
          <p:spPr>
            <a:xfrm>
              <a:off x="9972510" y="4561625"/>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TextBox 114">
              <a:extLst>
                <a:ext uri="{FF2B5EF4-FFF2-40B4-BE49-F238E27FC236}">
                  <a16:creationId xmlns:a16="http://schemas.microsoft.com/office/drawing/2014/main" id="{99133B71-CF79-4985-B989-D860C8DBF6BE}"/>
                </a:ext>
              </a:extLst>
            </p:cNvPr>
            <p:cNvSpPr txBox="1"/>
            <p:nvPr/>
          </p:nvSpPr>
          <p:spPr>
            <a:xfrm>
              <a:off x="9840443" y="4497737"/>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O</a:t>
              </a:r>
            </a:p>
          </p:txBody>
        </p:sp>
        <p:sp>
          <p:nvSpPr>
            <p:cNvPr id="118" name="Rectangle 117">
              <a:extLst>
                <a:ext uri="{FF2B5EF4-FFF2-40B4-BE49-F238E27FC236}">
                  <a16:creationId xmlns:a16="http://schemas.microsoft.com/office/drawing/2014/main" id="{ED486E4B-FF83-4CD1-9288-3909B4186D58}"/>
                </a:ext>
              </a:extLst>
            </p:cNvPr>
            <p:cNvSpPr/>
            <p:nvPr/>
          </p:nvSpPr>
          <p:spPr>
            <a:xfrm>
              <a:off x="9637493" y="5520349"/>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TextBox 118">
              <a:extLst>
                <a:ext uri="{FF2B5EF4-FFF2-40B4-BE49-F238E27FC236}">
                  <a16:creationId xmlns:a16="http://schemas.microsoft.com/office/drawing/2014/main" id="{6FBF0B7A-AF02-49A3-BE40-0B269A29CC4D}"/>
                </a:ext>
              </a:extLst>
            </p:cNvPr>
            <p:cNvSpPr txBox="1"/>
            <p:nvPr/>
          </p:nvSpPr>
          <p:spPr>
            <a:xfrm>
              <a:off x="9505426" y="5456461"/>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N</a:t>
              </a:r>
            </a:p>
          </p:txBody>
        </p:sp>
      </p:grpSp>
      <p:grpSp>
        <p:nvGrpSpPr>
          <p:cNvPr id="127" name="Group 126">
            <a:extLst>
              <a:ext uri="{FF2B5EF4-FFF2-40B4-BE49-F238E27FC236}">
                <a16:creationId xmlns:a16="http://schemas.microsoft.com/office/drawing/2014/main" id="{91694AD9-08D8-40BE-BCFC-1411741A7BDF}"/>
              </a:ext>
            </a:extLst>
          </p:cNvPr>
          <p:cNvGrpSpPr/>
          <p:nvPr/>
        </p:nvGrpSpPr>
        <p:grpSpPr>
          <a:xfrm>
            <a:off x="5828679" y="4133351"/>
            <a:ext cx="1322969" cy="1438370"/>
            <a:chOff x="5919218" y="4189289"/>
            <a:chExt cx="1322969" cy="1438370"/>
          </a:xfrm>
        </p:grpSpPr>
        <p:sp>
          <p:nvSpPr>
            <p:cNvPr id="85" name="Pentagon 84">
              <a:extLst>
                <a:ext uri="{FF2B5EF4-FFF2-40B4-BE49-F238E27FC236}">
                  <a16:creationId xmlns:a16="http://schemas.microsoft.com/office/drawing/2014/main" id="{DBC6905E-50A4-441F-9A0D-8D36C68D8F7D}"/>
                </a:ext>
              </a:extLst>
            </p:cNvPr>
            <p:cNvSpPr>
              <a:spLocks noChangeAspect="1"/>
            </p:cNvSpPr>
            <p:nvPr/>
          </p:nvSpPr>
          <p:spPr>
            <a:xfrm rot="10800000">
              <a:off x="5919218" y="4637659"/>
              <a:ext cx="1080000" cy="990000"/>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7" name="Straight Connector 86">
              <a:extLst>
                <a:ext uri="{FF2B5EF4-FFF2-40B4-BE49-F238E27FC236}">
                  <a16:creationId xmlns:a16="http://schemas.microsoft.com/office/drawing/2014/main" id="{D2DB129E-1224-46CD-A49C-2FB9DCE917A2}"/>
                </a:ext>
              </a:extLst>
            </p:cNvPr>
            <p:cNvCxnSpPr>
              <a:cxnSpLocks/>
            </p:cNvCxnSpPr>
            <p:nvPr/>
          </p:nvCxnSpPr>
          <p:spPr>
            <a:xfrm flipV="1">
              <a:off x="6497285" y="5234689"/>
              <a:ext cx="390125" cy="2867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CA1914CE-B896-4435-A89D-A6C1EB355C25}"/>
                </a:ext>
              </a:extLst>
            </p:cNvPr>
            <p:cNvSpPr/>
            <p:nvPr/>
          </p:nvSpPr>
          <p:spPr>
            <a:xfrm>
              <a:off x="6051286" y="4560954"/>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TextBox 110">
              <a:extLst>
                <a:ext uri="{FF2B5EF4-FFF2-40B4-BE49-F238E27FC236}">
                  <a16:creationId xmlns:a16="http://schemas.microsoft.com/office/drawing/2014/main" id="{BDDCBBC2-C965-48B7-822C-CA61D39DBF47}"/>
                </a:ext>
              </a:extLst>
            </p:cNvPr>
            <p:cNvSpPr txBox="1"/>
            <p:nvPr/>
          </p:nvSpPr>
          <p:spPr>
            <a:xfrm>
              <a:off x="5919219" y="4497066"/>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O</a:t>
              </a:r>
            </a:p>
          </p:txBody>
        </p:sp>
        <p:grpSp>
          <p:nvGrpSpPr>
            <p:cNvPr id="126" name="Group 125">
              <a:extLst>
                <a:ext uri="{FF2B5EF4-FFF2-40B4-BE49-F238E27FC236}">
                  <a16:creationId xmlns:a16="http://schemas.microsoft.com/office/drawing/2014/main" id="{5423242B-AF62-42E5-B098-B2343B5F8E6E}"/>
                </a:ext>
              </a:extLst>
            </p:cNvPr>
            <p:cNvGrpSpPr/>
            <p:nvPr/>
          </p:nvGrpSpPr>
          <p:grpSpPr>
            <a:xfrm rot="21153654">
              <a:off x="6845322" y="4394884"/>
              <a:ext cx="27677" cy="301099"/>
              <a:chOff x="6876859" y="4410054"/>
              <a:chExt cx="27677" cy="301099"/>
            </a:xfrm>
          </p:grpSpPr>
          <p:cxnSp>
            <p:nvCxnSpPr>
              <p:cNvPr id="120" name="Straight Connector 119">
                <a:extLst>
                  <a:ext uri="{FF2B5EF4-FFF2-40B4-BE49-F238E27FC236}">
                    <a16:creationId xmlns:a16="http://schemas.microsoft.com/office/drawing/2014/main" id="{503A0821-BACC-4AB6-BED4-D398EE5C8435}"/>
                  </a:ext>
                </a:extLst>
              </p:cNvPr>
              <p:cNvCxnSpPr>
                <a:cxnSpLocks/>
              </p:cNvCxnSpPr>
              <p:nvPr/>
            </p:nvCxnSpPr>
            <p:spPr>
              <a:xfrm rot="2639450" flipV="1">
                <a:off x="6876859" y="4410054"/>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1D093B6-F546-4828-989B-8AE35507E91C}"/>
                  </a:ext>
                </a:extLst>
              </p:cNvPr>
              <p:cNvCxnSpPr>
                <a:cxnSpLocks/>
              </p:cNvCxnSpPr>
              <p:nvPr/>
            </p:nvCxnSpPr>
            <p:spPr>
              <a:xfrm rot="2639450" flipV="1">
                <a:off x="6904536" y="443677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22" name="TextBox 121">
              <a:extLst>
                <a:ext uri="{FF2B5EF4-FFF2-40B4-BE49-F238E27FC236}">
                  <a16:creationId xmlns:a16="http://schemas.microsoft.com/office/drawing/2014/main" id="{4153A9DD-65CC-4F65-852F-176D2FAF8178}"/>
                </a:ext>
              </a:extLst>
            </p:cNvPr>
            <p:cNvSpPr txBox="1"/>
            <p:nvPr/>
          </p:nvSpPr>
          <p:spPr>
            <a:xfrm>
              <a:off x="6798052" y="4189289"/>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a:t>
              </a:r>
            </a:p>
          </p:txBody>
        </p:sp>
      </p:grpSp>
      <p:sp>
        <p:nvSpPr>
          <p:cNvPr id="132" name="TextBox 131">
            <a:extLst>
              <a:ext uri="{FF2B5EF4-FFF2-40B4-BE49-F238E27FC236}">
                <a16:creationId xmlns:a16="http://schemas.microsoft.com/office/drawing/2014/main" id="{E60C900B-0922-40DC-A222-D069AA02C3D2}"/>
              </a:ext>
            </a:extLst>
          </p:cNvPr>
          <p:cNvSpPr txBox="1"/>
          <p:nvPr/>
        </p:nvSpPr>
        <p:spPr>
          <a:xfrm>
            <a:off x="5622983" y="3553408"/>
            <a:ext cx="1567526" cy="58477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Pyrazines</a:t>
            </a:r>
          </a:p>
          <a:p>
            <a:pPr algn="ctr"/>
            <a:r>
              <a:rPr lang="en-GB" sz="1000">
                <a:solidFill>
                  <a:srgbClr val="000A1E"/>
                </a:solidFill>
                <a:latin typeface="Arial" panose="020B0604020202020204" pitchFamily="34" charset="0"/>
                <a:cs typeface="Arial" panose="020B0604020202020204" pitchFamily="34" charset="0"/>
              </a:rPr>
              <a:t>roasted</a:t>
            </a:r>
          </a:p>
          <a:p>
            <a:pPr algn="ctr"/>
            <a:r>
              <a:rPr lang="en-GB" sz="1000">
                <a:solidFill>
                  <a:srgbClr val="000A1E"/>
                </a:solidFill>
                <a:latin typeface="Arial" panose="020B0604020202020204" pitchFamily="34" charset="0"/>
                <a:cs typeface="Arial" panose="020B0604020202020204" pitchFamily="34" charset="0"/>
              </a:rPr>
              <a:t>toasted</a:t>
            </a:r>
            <a:endParaRPr lang="en-GB" sz="700">
              <a:solidFill>
                <a:srgbClr val="000A1E"/>
              </a:solidFill>
              <a:latin typeface="Arial" panose="020B0604020202020204" pitchFamily="34" charset="0"/>
              <a:cs typeface="Arial" panose="020B0604020202020204" pitchFamily="34" charset="0"/>
            </a:endParaRPr>
          </a:p>
        </p:txBody>
      </p:sp>
      <p:sp>
        <p:nvSpPr>
          <p:cNvPr id="133" name="TextBox 132">
            <a:extLst>
              <a:ext uri="{FF2B5EF4-FFF2-40B4-BE49-F238E27FC236}">
                <a16:creationId xmlns:a16="http://schemas.microsoft.com/office/drawing/2014/main" id="{2EA65C2B-5D70-4F10-8176-87343A94735F}"/>
              </a:ext>
            </a:extLst>
          </p:cNvPr>
          <p:cNvSpPr txBox="1"/>
          <p:nvPr/>
        </p:nvSpPr>
        <p:spPr>
          <a:xfrm>
            <a:off x="7280980" y="3536741"/>
            <a:ext cx="1567526" cy="58477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Pyrroles</a:t>
            </a:r>
          </a:p>
          <a:p>
            <a:pPr algn="ctr"/>
            <a:r>
              <a:rPr lang="en-GB" sz="1000">
                <a:solidFill>
                  <a:srgbClr val="000A1E"/>
                </a:solidFill>
                <a:latin typeface="Arial" panose="020B0604020202020204" pitchFamily="34" charset="0"/>
                <a:cs typeface="Arial" panose="020B0604020202020204" pitchFamily="34" charset="0"/>
              </a:rPr>
              <a:t>cereal-tasting</a:t>
            </a:r>
          </a:p>
          <a:p>
            <a:pPr algn="ctr"/>
            <a:r>
              <a:rPr lang="en-GB" sz="1000">
                <a:solidFill>
                  <a:srgbClr val="000A1E"/>
                </a:solidFill>
                <a:latin typeface="Arial" panose="020B0604020202020204" pitchFamily="34" charset="0"/>
                <a:cs typeface="Arial" panose="020B0604020202020204" pitchFamily="34" charset="0"/>
              </a:rPr>
              <a:t>nutty</a:t>
            </a:r>
            <a:endParaRPr lang="en-GB" sz="700">
              <a:solidFill>
                <a:srgbClr val="000A1E"/>
              </a:solidFill>
              <a:latin typeface="Arial" panose="020B0604020202020204" pitchFamily="34" charset="0"/>
              <a:cs typeface="Arial" panose="020B0604020202020204" pitchFamily="34" charset="0"/>
            </a:endParaRPr>
          </a:p>
        </p:txBody>
      </p:sp>
      <p:sp>
        <p:nvSpPr>
          <p:cNvPr id="134" name="TextBox 133">
            <a:extLst>
              <a:ext uri="{FF2B5EF4-FFF2-40B4-BE49-F238E27FC236}">
                <a16:creationId xmlns:a16="http://schemas.microsoft.com/office/drawing/2014/main" id="{22854D73-EA63-4326-AECD-5EFB6D31E200}"/>
              </a:ext>
            </a:extLst>
          </p:cNvPr>
          <p:cNvSpPr txBox="1"/>
          <p:nvPr/>
        </p:nvSpPr>
        <p:spPr>
          <a:xfrm>
            <a:off x="8877724" y="3531473"/>
            <a:ext cx="1567526" cy="58477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Alkylpyridines</a:t>
            </a:r>
          </a:p>
          <a:p>
            <a:pPr algn="ctr"/>
            <a:r>
              <a:rPr lang="en-GB" sz="1000">
                <a:solidFill>
                  <a:srgbClr val="000A1E"/>
                </a:solidFill>
                <a:latin typeface="Arial" panose="020B0604020202020204" pitchFamily="34" charset="0"/>
                <a:cs typeface="Arial" panose="020B0604020202020204" pitchFamily="34" charset="0"/>
              </a:rPr>
              <a:t>bitter</a:t>
            </a:r>
          </a:p>
          <a:p>
            <a:pPr algn="ctr"/>
            <a:r>
              <a:rPr lang="en-GB" sz="1000">
                <a:solidFill>
                  <a:srgbClr val="000A1E"/>
                </a:solidFill>
                <a:latin typeface="Arial" panose="020B0604020202020204" pitchFamily="34" charset="0"/>
                <a:cs typeface="Arial" panose="020B0604020202020204" pitchFamily="34" charset="0"/>
              </a:rPr>
              <a:t>burnt</a:t>
            </a:r>
          </a:p>
        </p:txBody>
      </p:sp>
      <p:sp>
        <p:nvSpPr>
          <p:cNvPr id="135" name="TextBox 134">
            <a:extLst>
              <a:ext uri="{FF2B5EF4-FFF2-40B4-BE49-F238E27FC236}">
                <a16:creationId xmlns:a16="http://schemas.microsoft.com/office/drawing/2014/main" id="{5E90BFF5-FA38-4B82-8DC1-CFC2A3F2A916}"/>
              </a:ext>
            </a:extLst>
          </p:cNvPr>
          <p:cNvSpPr txBox="1"/>
          <p:nvPr/>
        </p:nvSpPr>
        <p:spPr>
          <a:xfrm>
            <a:off x="10624474" y="3536741"/>
            <a:ext cx="1567526" cy="58477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Acylpyridines</a:t>
            </a:r>
          </a:p>
          <a:p>
            <a:pPr algn="ctr"/>
            <a:r>
              <a:rPr lang="en-GB" sz="1000">
                <a:solidFill>
                  <a:srgbClr val="000A1E"/>
                </a:solidFill>
                <a:latin typeface="Arial" panose="020B0604020202020204" pitchFamily="34" charset="0"/>
                <a:cs typeface="Arial" panose="020B0604020202020204" pitchFamily="34" charset="0"/>
              </a:rPr>
              <a:t>biscuity</a:t>
            </a:r>
          </a:p>
          <a:p>
            <a:pPr algn="ctr"/>
            <a:r>
              <a:rPr lang="en-GB" sz="1000">
                <a:solidFill>
                  <a:srgbClr val="000A1E"/>
                </a:solidFill>
                <a:latin typeface="Arial" panose="020B0604020202020204" pitchFamily="34" charset="0"/>
                <a:cs typeface="Arial" panose="020B0604020202020204" pitchFamily="34" charset="0"/>
              </a:rPr>
              <a:t>cereal-tasting</a:t>
            </a:r>
            <a:endParaRPr lang="en-GB" sz="700">
              <a:solidFill>
                <a:srgbClr val="000A1E"/>
              </a:solidFill>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DBD45BCF-EF11-4799-96C0-6D34F855DAB3}"/>
              </a:ext>
            </a:extLst>
          </p:cNvPr>
          <p:cNvSpPr txBox="1"/>
          <p:nvPr/>
        </p:nvSpPr>
        <p:spPr>
          <a:xfrm>
            <a:off x="5610827" y="5656245"/>
            <a:ext cx="1567526" cy="738664"/>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Furanones</a:t>
            </a:r>
          </a:p>
          <a:p>
            <a:pPr algn="ctr"/>
            <a:r>
              <a:rPr lang="en-GB" sz="1000">
                <a:solidFill>
                  <a:srgbClr val="000A1E"/>
                </a:solidFill>
                <a:latin typeface="Arial" panose="020B0604020202020204" pitchFamily="34" charset="0"/>
                <a:cs typeface="Arial" panose="020B0604020202020204" pitchFamily="34" charset="0"/>
              </a:rPr>
              <a:t>sweet</a:t>
            </a:r>
          </a:p>
          <a:p>
            <a:pPr algn="ctr"/>
            <a:r>
              <a:rPr lang="en-GB" sz="1000">
                <a:solidFill>
                  <a:srgbClr val="000A1E"/>
                </a:solidFill>
                <a:latin typeface="Arial" panose="020B0604020202020204" pitchFamily="34" charset="0"/>
                <a:cs typeface="Arial" panose="020B0604020202020204" pitchFamily="34" charset="0"/>
              </a:rPr>
              <a:t>caramel</a:t>
            </a:r>
          </a:p>
          <a:p>
            <a:pPr algn="ctr"/>
            <a:r>
              <a:rPr lang="en-GB" sz="1000">
                <a:solidFill>
                  <a:srgbClr val="000A1E"/>
                </a:solidFill>
                <a:latin typeface="Arial" panose="020B0604020202020204" pitchFamily="34" charset="0"/>
                <a:cs typeface="Arial" panose="020B0604020202020204" pitchFamily="34" charset="0"/>
              </a:rPr>
              <a:t>burnt</a:t>
            </a:r>
            <a:endParaRPr lang="en-GB" sz="700">
              <a:solidFill>
                <a:srgbClr val="000A1E"/>
              </a:solidFill>
              <a:latin typeface="Arial" panose="020B0604020202020204" pitchFamily="34" charset="0"/>
              <a:cs typeface="Arial" panose="020B0604020202020204" pitchFamily="34" charset="0"/>
            </a:endParaRPr>
          </a:p>
        </p:txBody>
      </p:sp>
      <p:sp>
        <p:nvSpPr>
          <p:cNvPr id="137" name="TextBox 136">
            <a:extLst>
              <a:ext uri="{FF2B5EF4-FFF2-40B4-BE49-F238E27FC236}">
                <a16:creationId xmlns:a16="http://schemas.microsoft.com/office/drawing/2014/main" id="{C8DC89E8-F629-491D-91CE-4023EF55FEE7}"/>
              </a:ext>
            </a:extLst>
          </p:cNvPr>
          <p:cNvSpPr txBox="1"/>
          <p:nvPr/>
        </p:nvSpPr>
        <p:spPr>
          <a:xfrm>
            <a:off x="7252081" y="5656245"/>
            <a:ext cx="1567526" cy="738664"/>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Furans</a:t>
            </a:r>
          </a:p>
          <a:p>
            <a:pPr algn="ctr"/>
            <a:r>
              <a:rPr lang="en-GB" sz="1000">
                <a:solidFill>
                  <a:srgbClr val="000A1E"/>
                </a:solidFill>
                <a:latin typeface="Arial" panose="020B0604020202020204" pitchFamily="34" charset="0"/>
                <a:cs typeface="Arial" panose="020B0604020202020204" pitchFamily="34" charset="0"/>
              </a:rPr>
              <a:t>meaty</a:t>
            </a:r>
          </a:p>
          <a:p>
            <a:pPr algn="ctr"/>
            <a:r>
              <a:rPr lang="en-GB" sz="1000">
                <a:solidFill>
                  <a:srgbClr val="000A1E"/>
                </a:solidFill>
                <a:latin typeface="Arial" panose="020B0604020202020204" pitchFamily="34" charset="0"/>
                <a:cs typeface="Arial" panose="020B0604020202020204" pitchFamily="34" charset="0"/>
              </a:rPr>
              <a:t>burnt</a:t>
            </a:r>
          </a:p>
          <a:p>
            <a:pPr algn="ctr"/>
            <a:r>
              <a:rPr lang="en-GB" sz="1000">
                <a:solidFill>
                  <a:srgbClr val="000A1E"/>
                </a:solidFill>
                <a:latin typeface="Arial" panose="020B0604020202020204" pitchFamily="34" charset="0"/>
                <a:cs typeface="Arial" panose="020B0604020202020204" pitchFamily="34" charset="0"/>
              </a:rPr>
              <a:t>caramel</a:t>
            </a:r>
            <a:endParaRPr lang="en-GB" sz="700">
              <a:solidFill>
                <a:srgbClr val="000A1E"/>
              </a:solidFill>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AD7F2E6D-ABC9-4C14-8CB2-B90F81AB81EA}"/>
              </a:ext>
            </a:extLst>
          </p:cNvPr>
          <p:cNvSpPr txBox="1"/>
          <p:nvPr/>
        </p:nvSpPr>
        <p:spPr>
          <a:xfrm>
            <a:off x="10556681" y="5647009"/>
            <a:ext cx="1567526" cy="58477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Oxazoles</a:t>
            </a:r>
          </a:p>
          <a:p>
            <a:pPr algn="ctr"/>
            <a:r>
              <a:rPr lang="en-GB" sz="1000">
                <a:solidFill>
                  <a:srgbClr val="000A1E"/>
                </a:solidFill>
                <a:latin typeface="Arial" panose="020B0604020202020204" pitchFamily="34" charset="0"/>
                <a:cs typeface="Arial" panose="020B0604020202020204" pitchFamily="34" charset="0"/>
              </a:rPr>
              <a:t>nutty</a:t>
            </a:r>
          </a:p>
          <a:p>
            <a:pPr algn="ctr"/>
            <a:r>
              <a:rPr lang="en-GB" sz="1000">
                <a:solidFill>
                  <a:srgbClr val="000A1E"/>
                </a:solidFill>
                <a:latin typeface="Arial" panose="020B0604020202020204" pitchFamily="34" charset="0"/>
                <a:cs typeface="Arial" panose="020B0604020202020204" pitchFamily="34" charset="0"/>
              </a:rPr>
              <a:t>sweet</a:t>
            </a:r>
            <a:endParaRPr lang="en-GB" sz="700">
              <a:solidFill>
                <a:srgbClr val="000A1E"/>
              </a:solidFill>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9C67B8BC-9B12-4DFD-A074-C1CAED2A6C3D}"/>
              </a:ext>
            </a:extLst>
          </p:cNvPr>
          <p:cNvSpPr txBox="1"/>
          <p:nvPr/>
        </p:nvSpPr>
        <p:spPr>
          <a:xfrm>
            <a:off x="8933712" y="5651154"/>
            <a:ext cx="1567526" cy="58477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Thiophenes</a:t>
            </a:r>
          </a:p>
          <a:p>
            <a:pPr algn="ctr"/>
            <a:r>
              <a:rPr lang="en-GB" sz="1000">
                <a:solidFill>
                  <a:srgbClr val="000A1E"/>
                </a:solidFill>
                <a:latin typeface="Arial" panose="020B0604020202020204" pitchFamily="34" charset="0"/>
                <a:cs typeface="Arial" panose="020B0604020202020204" pitchFamily="34" charset="0"/>
              </a:rPr>
              <a:t>meaty</a:t>
            </a:r>
          </a:p>
          <a:p>
            <a:pPr algn="ctr"/>
            <a:r>
              <a:rPr lang="en-GB" sz="1000">
                <a:solidFill>
                  <a:srgbClr val="000A1E"/>
                </a:solidFill>
                <a:latin typeface="Arial" panose="020B0604020202020204" pitchFamily="34" charset="0"/>
                <a:cs typeface="Arial" panose="020B0604020202020204" pitchFamily="34" charset="0"/>
              </a:rPr>
              <a:t>roasted</a:t>
            </a:r>
            <a:endParaRPr lang="en-GB" sz="700">
              <a:solidFill>
                <a:srgbClr val="000A1E"/>
              </a:solidFill>
              <a:latin typeface="Arial" panose="020B0604020202020204" pitchFamily="34" charset="0"/>
              <a:cs typeface="Arial" panose="020B0604020202020204" pitchFamily="34" charset="0"/>
            </a:endParaRPr>
          </a:p>
        </p:txBody>
      </p:sp>
      <p:sp>
        <p:nvSpPr>
          <p:cNvPr id="140" name="Subtitle 2">
            <a:extLst>
              <a:ext uri="{FF2B5EF4-FFF2-40B4-BE49-F238E27FC236}">
                <a16:creationId xmlns:a16="http://schemas.microsoft.com/office/drawing/2014/main" id="{35E9C7AB-8B81-419D-9240-71B9AFEEC7F3}"/>
              </a:ext>
            </a:extLst>
          </p:cNvPr>
          <p:cNvSpPr txBox="1">
            <a:spLocks/>
          </p:cNvSpPr>
          <p:nvPr/>
        </p:nvSpPr>
        <p:spPr>
          <a:xfrm>
            <a:off x="1169277" y="2571092"/>
            <a:ext cx="415415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dirty="0"/>
              <a:t>As well as producing compounds that are brown in </a:t>
            </a:r>
            <a:r>
              <a:rPr lang="en-US" dirty="0" err="1"/>
              <a:t>colour</a:t>
            </a:r>
            <a:r>
              <a:rPr lang="en-US" dirty="0"/>
              <a:t>, the Maillard reaction also results in compounds that provide distinct aromas and </a:t>
            </a:r>
            <a:r>
              <a:rPr lang="en-US" dirty="0" err="1"/>
              <a:t>flavours</a:t>
            </a:r>
            <a:r>
              <a:rPr lang="en-US" dirty="0"/>
              <a:t>.</a:t>
            </a:r>
          </a:p>
          <a:p>
            <a:pPr marL="0" indent="0">
              <a:buFont typeface="Arial" charset="0"/>
              <a:buNone/>
            </a:pPr>
            <a:r>
              <a:rPr lang="en-US" dirty="0"/>
              <a:t>On this slide, you can see some examples of substances that generate specific aromas and </a:t>
            </a:r>
            <a:r>
              <a:rPr lang="en-US" dirty="0" err="1"/>
              <a:t>flavours</a:t>
            </a:r>
            <a:r>
              <a:rPr lang="en-US" dirty="0"/>
              <a:t> in foods.</a:t>
            </a:r>
          </a:p>
          <a:p>
            <a:pPr marL="0" indent="0">
              <a:buFont typeface="Arial" charset="0"/>
              <a:buNone/>
            </a:pPr>
            <a:endParaRPr lang="en-US" dirty="0"/>
          </a:p>
          <a:p>
            <a:pPr marL="0" indent="0">
              <a:buFont typeface="Arial" charset="0"/>
              <a:buNone/>
            </a:pPr>
            <a:endParaRPr lang="en-US" dirty="0"/>
          </a:p>
          <a:p>
            <a:pPr marL="0" indent="0">
              <a:buFont typeface="Arial" charset="0"/>
              <a:buNone/>
            </a:pPr>
            <a:endParaRPr lang="en-US" dirty="0"/>
          </a:p>
        </p:txBody>
      </p:sp>
    </p:spTree>
    <p:extLst>
      <p:ext uri="{BB962C8B-B14F-4D97-AF65-F5344CB8AC3E}">
        <p14:creationId xmlns:p14="http://schemas.microsoft.com/office/powerpoint/2010/main" val="2313718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a:extLst>
              <a:ext uri="{FF2B5EF4-FFF2-40B4-BE49-F238E27FC236}">
                <a16:creationId xmlns:a16="http://schemas.microsoft.com/office/drawing/2014/main" id="{8D4D3F47-1214-417C-5893-EC8FA2E1C6D4}"/>
              </a:ext>
            </a:extLst>
          </p:cNvPr>
          <p:cNvSpPr/>
          <p:nvPr/>
        </p:nvSpPr>
        <p:spPr>
          <a:xfrm>
            <a:off x="8722356" y="5184709"/>
            <a:ext cx="1450436" cy="1318435"/>
          </a:xfrm>
          <a:prstGeom prst="rect">
            <a:avLst/>
          </a:prstGeom>
          <a:solidFill>
            <a:schemeClr val="accent1">
              <a:alpha val="30000"/>
            </a:scheme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B2517A4-E10A-E444-1061-434E356416A6}"/>
              </a:ext>
            </a:extLst>
          </p:cNvPr>
          <p:cNvSpPr>
            <a:spLocks noGrp="1"/>
          </p:cNvSpPr>
          <p:nvPr>
            <p:ph type="ctrTitle"/>
          </p:nvPr>
        </p:nvSpPr>
        <p:spPr>
          <a:xfrm>
            <a:off x="1137527" y="1155951"/>
            <a:ext cx="9720000" cy="720000"/>
          </a:xfrm>
        </p:spPr>
        <p:txBody>
          <a:bodyPr/>
          <a:lstStyle/>
          <a:p>
            <a:r>
              <a:rPr lang="en-GB">
                <a:latin typeface="Arial"/>
                <a:cs typeface="Arial"/>
              </a:rPr>
              <a:t>Non-enzymic browning reactions</a:t>
            </a:r>
            <a:endParaRPr lang="en-US" b="0">
              <a:latin typeface="Arial"/>
              <a:cs typeface="Arial"/>
            </a:endParaRPr>
          </a:p>
          <a:p>
            <a:endParaRPr lang="en-US"/>
          </a:p>
        </p:txBody>
      </p:sp>
      <p:sp>
        <p:nvSpPr>
          <p:cNvPr id="4" name="Rectangle 3">
            <a:extLst>
              <a:ext uri="{FF2B5EF4-FFF2-40B4-BE49-F238E27FC236}">
                <a16:creationId xmlns:a16="http://schemas.microsoft.com/office/drawing/2014/main" id="{E5F102ED-6054-028A-E7FE-819444A2694D}"/>
              </a:ext>
            </a:extLst>
          </p:cNvPr>
          <p:cNvSpPr/>
          <p:nvPr/>
        </p:nvSpPr>
        <p:spPr>
          <a:xfrm>
            <a:off x="115207" y="2411251"/>
            <a:ext cx="3974276" cy="1758272"/>
          </a:xfrm>
          <a:prstGeom prst="rect">
            <a:avLst/>
          </a:prstGeom>
          <a:solidFill>
            <a:schemeClr val="accent1">
              <a:alpha val="30000"/>
            </a:scheme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 name="Group 4">
            <a:extLst>
              <a:ext uri="{FF2B5EF4-FFF2-40B4-BE49-F238E27FC236}">
                <a16:creationId xmlns:a16="http://schemas.microsoft.com/office/drawing/2014/main" id="{3A479682-131B-4C00-C303-1E5D76B9C115}"/>
              </a:ext>
            </a:extLst>
          </p:cNvPr>
          <p:cNvGrpSpPr/>
          <p:nvPr/>
        </p:nvGrpSpPr>
        <p:grpSpPr>
          <a:xfrm>
            <a:off x="506890" y="2685870"/>
            <a:ext cx="1261479" cy="1048097"/>
            <a:chOff x="7859696" y="2458513"/>
            <a:chExt cx="1261479" cy="1048097"/>
          </a:xfrm>
        </p:grpSpPr>
        <p:grpSp>
          <p:nvGrpSpPr>
            <p:cNvPr id="6" name="Group 5">
              <a:extLst>
                <a:ext uri="{FF2B5EF4-FFF2-40B4-BE49-F238E27FC236}">
                  <a16:creationId xmlns:a16="http://schemas.microsoft.com/office/drawing/2014/main" id="{3CDBEDC8-B173-02E5-9082-62CA82D83AD0}"/>
                </a:ext>
              </a:extLst>
            </p:cNvPr>
            <p:cNvGrpSpPr/>
            <p:nvPr/>
          </p:nvGrpSpPr>
          <p:grpSpPr>
            <a:xfrm>
              <a:off x="8159483" y="2458513"/>
              <a:ext cx="641822" cy="787894"/>
              <a:chOff x="10164129" y="2130777"/>
              <a:chExt cx="641822" cy="787894"/>
            </a:xfrm>
          </p:grpSpPr>
          <p:grpSp>
            <p:nvGrpSpPr>
              <p:cNvPr id="13" name="Group 12">
                <a:extLst>
                  <a:ext uri="{FF2B5EF4-FFF2-40B4-BE49-F238E27FC236}">
                    <a16:creationId xmlns:a16="http://schemas.microsoft.com/office/drawing/2014/main" id="{DDB37FEA-C71C-57F1-33F2-D44C40BBBDCD}"/>
                  </a:ext>
                </a:extLst>
              </p:cNvPr>
              <p:cNvGrpSpPr/>
              <p:nvPr/>
            </p:nvGrpSpPr>
            <p:grpSpPr>
              <a:xfrm>
                <a:off x="10164129" y="2130777"/>
                <a:ext cx="551822" cy="787894"/>
                <a:chOff x="8241693" y="2511094"/>
                <a:chExt cx="551822" cy="787894"/>
              </a:xfrm>
            </p:grpSpPr>
            <p:cxnSp>
              <p:nvCxnSpPr>
                <p:cNvPr id="15" name="Straight Connector 14">
                  <a:extLst>
                    <a:ext uri="{FF2B5EF4-FFF2-40B4-BE49-F238E27FC236}">
                      <a16:creationId xmlns:a16="http://schemas.microsoft.com/office/drawing/2014/main" id="{974FC665-F47C-54DC-0D3C-1C912CF1B5B6}"/>
                    </a:ext>
                  </a:extLst>
                </p:cNvPr>
                <p:cNvCxnSpPr>
                  <a:cxnSpLocks/>
                </p:cNvCxnSpPr>
                <p:nvPr/>
              </p:nvCxnSpPr>
              <p:spPr>
                <a:xfrm flipV="1">
                  <a:off x="8241693" y="3051488"/>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EFDC96-3EA8-B244-4A2D-B49FFEDE9CC6}"/>
                    </a:ext>
                  </a:extLst>
                </p:cNvPr>
                <p:cNvCxnSpPr>
                  <a:cxnSpLocks/>
                </p:cNvCxnSpPr>
                <p:nvPr/>
              </p:nvCxnSpPr>
              <p:spPr>
                <a:xfrm flipV="1">
                  <a:off x="854454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71C682-D1FC-02E3-9196-3796E0DC50F5}"/>
                    </a:ext>
                  </a:extLst>
                </p:cNvPr>
                <p:cNvCxnSpPr>
                  <a:cxnSpLocks/>
                </p:cNvCxnSpPr>
                <p:nvPr/>
              </p:nvCxnSpPr>
              <p:spPr>
                <a:xfrm flipV="1">
                  <a:off x="858301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83B7B6F-6FCE-04E9-943B-25EC104232B1}"/>
                    </a:ext>
                  </a:extLst>
                </p:cNvPr>
                <p:cNvSpPr txBox="1"/>
                <p:nvPr/>
              </p:nvSpPr>
              <p:spPr>
                <a:xfrm>
                  <a:off x="8349380" y="2511094"/>
                  <a:ext cx="444135" cy="307777"/>
                </a:xfrm>
                <a:prstGeom prst="rect">
                  <a:avLst/>
                </a:prstGeom>
                <a:noFill/>
              </p:spPr>
              <p:txBody>
                <a:bodyPr wrap="square" rtlCol="0">
                  <a:spAutoFit/>
                </a:bodyPr>
                <a:lstStyle/>
                <a:p>
                  <a:pPr algn="ctr"/>
                  <a:r>
                    <a:rPr lang="en-GB" sz="1400">
                      <a:solidFill>
                        <a:srgbClr val="FF0000"/>
                      </a:solidFill>
                      <a:latin typeface="Arial Black" panose="020B0A04020102020204" pitchFamily="34" charset="0"/>
                    </a:rPr>
                    <a:t>O</a:t>
                  </a:r>
                </a:p>
              </p:txBody>
            </p:sp>
          </p:grpSp>
          <p:cxnSp>
            <p:nvCxnSpPr>
              <p:cNvPr id="14" name="Straight Connector 13">
                <a:extLst>
                  <a:ext uri="{FF2B5EF4-FFF2-40B4-BE49-F238E27FC236}">
                    <a16:creationId xmlns:a16="http://schemas.microsoft.com/office/drawing/2014/main" id="{7D69F672-A33B-4C5D-9B70-E6A13631EB99}"/>
                  </a:ext>
                </a:extLst>
              </p:cNvPr>
              <p:cNvCxnSpPr>
                <a:cxnSpLocks/>
              </p:cNvCxnSpPr>
              <p:nvPr/>
            </p:nvCxnSpPr>
            <p:spPr>
              <a:xfrm flipH="1" flipV="1">
                <a:off x="10503104" y="2671171"/>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DDFF6650-1890-6186-7433-BB68DF614ACB}"/>
                </a:ext>
              </a:extLst>
            </p:cNvPr>
            <p:cNvSpPr txBox="1"/>
            <p:nvPr/>
          </p:nvSpPr>
          <p:spPr>
            <a:xfrm>
              <a:off x="8677040" y="3198833"/>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H</a:t>
              </a:r>
            </a:p>
          </p:txBody>
        </p:sp>
        <p:cxnSp>
          <p:nvCxnSpPr>
            <p:cNvPr id="8" name="Straight Connector 7">
              <a:extLst>
                <a:ext uri="{FF2B5EF4-FFF2-40B4-BE49-F238E27FC236}">
                  <a16:creationId xmlns:a16="http://schemas.microsoft.com/office/drawing/2014/main" id="{76C79307-830D-E151-A3CF-C25809C2B122}"/>
                </a:ext>
              </a:extLst>
            </p:cNvPr>
            <p:cNvCxnSpPr>
              <a:cxnSpLocks/>
            </p:cNvCxnSpPr>
            <p:nvPr/>
          </p:nvCxnSpPr>
          <p:spPr>
            <a:xfrm flipH="1" flipV="1">
              <a:off x="7859696" y="3007960"/>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5D2C863-4A62-F13F-E937-CF2C021DB3AE}"/>
                </a:ext>
              </a:extLst>
            </p:cNvPr>
            <p:cNvSpPr/>
            <p:nvPr/>
          </p:nvSpPr>
          <p:spPr>
            <a:xfrm>
              <a:off x="8390394" y="2965929"/>
              <a:ext cx="180000" cy="180000"/>
            </a:xfrm>
            <a:prstGeom prst="rect">
              <a:avLst/>
            </a:prstGeom>
            <a:solidFill>
              <a:srgbClr val="CDE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A3AE4500-71F9-0DF7-CE83-9B35EA676B06}"/>
                </a:ext>
              </a:extLst>
            </p:cNvPr>
            <p:cNvSpPr txBox="1"/>
            <p:nvPr/>
          </p:nvSpPr>
          <p:spPr>
            <a:xfrm>
              <a:off x="8258327" y="2902041"/>
              <a:ext cx="444135" cy="307777"/>
            </a:xfrm>
            <a:prstGeom prst="rect">
              <a:avLst/>
            </a:prstGeom>
            <a:noFill/>
          </p:spPr>
          <p:txBody>
            <a:bodyPr wrap="square" rtlCol="0" anchor="ctr">
              <a:spAutoFit/>
            </a:bodyPr>
            <a:lstStyle/>
            <a:p>
              <a:pPr algn="ctr"/>
              <a:r>
                <a:rPr lang="en-GB" sz="1400">
                  <a:solidFill>
                    <a:srgbClr val="00B050"/>
                  </a:solidFill>
                  <a:latin typeface="Arial Black" panose="020B0A04020102020204" pitchFamily="34" charset="0"/>
                </a:rPr>
                <a:t>C</a:t>
              </a:r>
            </a:p>
          </p:txBody>
        </p:sp>
        <p:sp>
          <p:nvSpPr>
            <p:cNvPr id="11" name="Rectangle 10">
              <a:extLst>
                <a:ext uri="{FF2B5EF4-FFF2-40B4-BE49-F238E27FC236}">
                  <a16:creationId xmlns:a16="http://schemas.microsoft.com/office/drawing/2014/main" id="{882F8B59-6F18-4F56-1C02-381F76AEAF49}"/>
                </a:ext>
              </a:extLst>
            </p:cNvPr>
            <p:cNvSpPr/>
            <p:nvPr/>
          </p:nvSpPr>
          <p:spPr>
            <a:xfrm>
              <a:off x="8060640" y="3174513"/>
              <a:ext cx="180000" cy="180000"/>
            </a:xfrm>
            <a:prstGeom prst="rect">
              <a:avLst/>
            </a:prstGeom>
            <a:solidFill>
              <a:srgbClr val="CDE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58212594-7F2A-5128-3419-A093771E5C32}"/>
                </a:ext>
              </a:extLst>
            </p:cNvPr>
            <p:cNvSpPr txBox="1"/>
            <p:nvPr/>
          </p:nvSpPr>
          <p:spPr>
            <a:xfrm>
              <a:off x="7928573" y="3110625"/>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grpSp>
      <p:grpSp>
        <p:nvGrpSpPr>
          <p:cNvPr id="19" name="Group 18">
            <a:extLst>
              <a:ext uri="{FF2B5EF4-FFF2-40B4-BE49-F238E27FC236}">
                <a16:creationId xmlns:a16="http://schemas.microsoft.com/office/drawing/2014/main" id="{AFE38CD7-E201-BCD7-478F-7C18D322FFA4}"/>
              </a:ext>
            </a:extLst>
          </p:cNvPr>
          <p:cNvGrpSpPr/>
          <p:nvPr/>
        </p:nvGrpSpPr>
        <p:grpSpPr>
          <a:xfrm>
            <a:off x="2627061" y="2411456"/>
            <a:ext cx="1366600" cy="1048097"/>
            <a:chOff x="7859696" y="2458513"/>
            <a:chExt cx="1366600" cy="1048097"/>
          </a:xfrm>
        </p:grpSpPr>
        <p:grpSp>
          <p:nvGrpSpPr>
            <p:cNvPr id="20" name="Group 19">
              <a:extLst>
                <a:ext uri="{FF2B5EF4-FFF2-40B4-BE49-F238E27FC236}">
                  <a16:creationId xmlns:a16="http://schemas.microsoft.com/office/drawing/2014/main" id="{147441CC-F997-C720-333C-AF09DFACC439}"/>
                </a:ext>
              </a:extLst>
            </p:cNvPr>
            <p:cNvGrpSpPr/>
            <p:nvPr/>
          </p:nvGrpSpPr>
          <p:grpSpPr>
            <a:xfrm>
              <a:off x="8159483" y="2458513"/>
              <a:ext cx="641822" cy="787894"/>
              <a:chOff x="10164129" y="2130777"/>
              <a:chExt cx="641822" cy="787894"/>
            </a:xfrm>
          </p:grpSpPr>
          <p:grpSp>
            <p:nvGrpSpPr>
              <p:cNvPr id="27" name="Group 26">
                <a:extLst>
                  <a:ext uri="{FF2B5EF4-FFF2-40B4-BE49-F238E27FC236}">
                    <a16:creationId xmlns:a16="http://schemas.microsoft.com/office/drawing/2014/main" id="{98323F50-E20D-5C3D-6AF4-F248E18F98C3}"/>
                  </a:ext>
                </a:extLst>
              </p:cNvPr>
              <p:cNvGrpSpPr/>
              <p:nvPr/>
            </p:nvGrpSpPr>
            <p:grpSpPr>
              <a:xfrm>
                <a:off x="10164129" y="2130777"/>
                <a:ext cx="551822" cy="787894"/>
                <a:chOff x="8241693" y="2511094"/>
                <a:chExt cx="551822" cy="787894"/>
              </a:xfrm>
            </p:grpSpPr>
            <p:cxnSp>
              <p:nvCxnSpPr>
                <p:cNvPr id="29" name="Straight Connector 28">
                  <a:extLst>
                    <a:ext uri="{FF2B5EF4-FFF2-40B4-BE49-F238E27FC236}">
                      <a16:creationId xmlns:a16="http://schemas.microsoft.com/office/drawing/2014/main" id="{E4A2E800-84BE-A82C-146A-C85AB71D6208}"/>
                    </a:ext>
                  </a:extLst>
                </p:cNvPr>
                <p:cNvCxnSpPr>
                  <a:cxnSpLocks/>
                </p:cNvCxnSpPr>
                <p:nvPr/>
              </p:nvCxnSpPr>
              <p:spPr>
                <a:xfrm flipV="1">
                  <a:off x="8241693" y="3051488"/>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9AABC1E-E8B3-6861-469B-48497778F246}"/>
                    </a:ext>
                  </a:extLst>
                </p:cNvPr>
                <p:cNvCxnSpPr>
                  <a:cxnSpLocks/>
                </p:cNvCxnSpPr>
                <p:nvPr/>
              </p:nvCxnSpPr>
              <p:spPr>
                <a:xfrm flipV="1">
                  <a:off x="854454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E0F052-37A4-4168-1FAE-49C5BB273273}"/>
                    </a:ext>
                  </a:extLst>
                </p:cNvPr>
                <p:cNvCxnSpPr>
                  <a:cxnSpLocks/>
                </p:cNvCxnSpPr>
                <p:nvPr/>
              </p:nvCxnSpPr>
              <p:spPr>
                <a:xfrm flipV="1">
                  <a:off x="858301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E61150C-6F65-8533-DD31-79103668E208}"/>
                    </a:ext>
                  </a:extLst>
                </p:cNvPr>
                <p:cNvSpPr txBox="1"/>
                <p:nvPr/>
              </p:nvSpPr>
              <p:spPr>
                <a:xfrm>
                  <a:off x="8349380" y="2511094"/>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a:t>
                  </a:r>
                </a:p>
              </p:txBody>
            </p:sp>
          </p:grpSp>
          <p:cxnSp>
            <p:nvCxnSpPr>
              <p:cNvPr id="28" name="Straight Connector 27">
                <a:extLst>
                  <a:ext uri="{FF2B5EF4-FFF2-40B4-BE49-F238E27FC236}">
                    <a16:creationId xmlns:a16="http://schemas.microsoft.com/office/drawing/2014/main" id="{3962BB07-3A83-C658-F244-7CE8CD50C83B}"/>
                  </a:ext>
                </a:extLst>
              </p:cNvPr>
              <p:cNvCxnSpPr>
                <a:cxnSpLocks/>
              </p:cNvCxnSpPr>
              <p:nvPr/>
            </p:nvCxnSpPr>
            <p:spPr>
              <a:xfrm flipH="1" flipV="1">
                <a:off x="10503104" y="2671171"/>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A3C8C2C8-DEEF-D277-4403-7682B1FD0CB7}"/>
                </a:ext>
              </a:extLst>
            </p:cNvPr>
            <p:cNvSpPr txBox="1"/>
            <p:nvPr/>
          </p:nvSpPr>
          <p:spPr>
            <a:xfrm>
              <a:off x="8677040" y="3198833"/>
              <a:ext cx="549256"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H</a:t>
              </a:r>
            </a:p>
          </p:txBody>
        </p:sp>
        <p:cxnSp>
          <p:nvCxnSpPr>
            <p:cNvPr id="22" name="Straight Connector 21">
              <a:extLst>
                <a:ext uri="{FF2B5EF4-FFF2-40B4-BE49-F238E27FC236}">
                  <a16:creationId xmlns:a16="http://schemas.microsoft.com/office/drawing/2014/main" id="{3729E0AA-D02E-BECD-8340-08CCF9BB2FA5}"/>
                </a:ext>
              </a:extLst>
            </p:cNvPr>
            <p:cNvCxnSpPr>
              <a:cxnSpLocks/>
            </p:cNvCxnSpPr>
            <p:nvPr/>
          </p:nvCxnSpPr>
          <p:spPr>
            <a:xfrm flipH="1" flipV="1">
              <a:off x="7859696" y="3007960"/>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6A952C9-4AD8-CF1C-4BDA-FA43F2687A42}"/>
                </a:ext>
              </a:extLst>
            </p:cNvPr>
            <p:cNvSpPr/>
            <p:nvPr/>
          </p:nvSpPr>
          <p:spPr>
            <a:xfrm>
              <a:off x="8390394" y="2965929"/>
              <a:ext cx="180000" cy="180000"/>
            </a:xfrm>
            <a:prstGeom prst="rect">
              <a:avLst/>
            </a:prstGeom>
            <a:solidFill>
              <a:srgbClr val="CDE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B0C29B3A-167B-ED05-7626-50B08D24ECE3}"/>
                </a:ext>
              </a:extLst>
            </p:cNvPr>
            <p:cNvSpPr txBox="1"/>
            <p:nvPr/>
          </p:nvSpPr>
          <p:spPr>
            <a:xfrm>
              <a:off x="8258327" y="2902041"/>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sp>
          <p:nvSpPr>
            <p:cNvPr id="25" name="Rectangle 24">
              <a:extLst>
                <a:ext uri="{FF2B5EF4-FFF2-40B4-BE49-F238E27FC236}">
                  <a16:creationId xmlns:a16="http://schemas.microsoft.com/office/drawing/2014/main" id="{2C557066-2AFE-1276-6D7B-1020F52135D6}"/>
                </a:ext>
              </a:extLst>
            </p:cNvPr>
            <p:cNvSpPr/>
            <p:nvPr/>
          </p:nvSpPr>
          <p:spPr>
            <a:xfrm>
              <a:off x="8060640" y="3174513"/>
              <a:ext cx="180000" cy="180000"/>
            </a:xfrm>
            <a:prstGeom prst="rect">
              <a:avLst/>
            </a:prstGeom>
            <a:solidFill>
              <a:srgbClr val="CDE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C0F2A5F7-1768-D58A-2EA7-54FB38CDD35A}"/>
                </a:ext>
              </a:extLst>
            </p:cNvPr>
            <p:cNvSpPr txBox="1"/>
            <p:nvPr/>
          </p:nvSpPr>
          <p:spPr>
            <a:xfrm>
              <a:off x="7928573" y="3110625"/>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grpSp>
      <p:sp>
        <p:nvSpPr>
          <p:cNvPr id="33" name="TextBox 32">
            <a:extLst>
              <a:ext uri="{FF2B5EF4-FFF2-40B4-BE49-F238E27FC236}">
                <a16:creationId xmlns:a16="http://schemas.microsoft.com/office/drawing/2014/main" id="{FB9154DA-F730-A38C-271A-81335820D7E7}"/>
              </a:ext>
            </a:extLst>
          </p:cNvPr>
          <p:cNvSpPr txBox="1"/>
          <p:nvPr/>
        </p:nvSpPr>
        <p:spPr>
          <a:xfrm>
            <a:off x="2075564" y="2819679"/>
            <a:ext cx="667750" cy="307777"/>
          </a:xfrm>
          <a:prstGeom prst="rect">
            <a:avLst/>
          </a:prstGeom>
          <a:noFill/>
        </p:spPr>
        <p:txBody>
          <a:bodyPr wrap="square" rtlCol="0">
            <a:spAutoFit/>
          </a:bodyPr>
          <a:lstStyle/>
          <a:p>
            <a:pPr algn="ctr"/>
            <a:r>
              <a:rPr lang="en-GB" sz="1400">
                <a:solidFill>
                  <a:srgbClr val="FF0000"/>
                </a:solidFill>
                <a:latin typeface="Arial Black" panose="020B0A04020102020204" pitchFamily="34" charset="0"/>
              </a:rPr>
              <a:t>H</a:t>
            </a:r>
            <a:r>
              <a:rPr lang="en-GB" sz="1400" baseline="-25000">
                <a:solidFill>
                  <a:srgbClr val="FF0000"/>
                </a:solidFill>
                <a:latin typeface="Arial Black" panose="020B0A04020102020204" pitchFamily="34" charset="0"/>
              </a:rPr>
              <a:t>2</a:t>
            </a:r>
            <a:r>
              <a:rPr lang="en-GB" sz="1400">
                <a:solidFill>
                  <a:srgbClr val="00B050"/>
                </a:solidFill>
                <a:latin typeface="Arial Black" panose="020B0A04020102020204" pitchFamily="34" charset="0"/>
              </a:rPr>
              <a:t>N</a:t>
            </a:r>
          </a:p>
        </p:txBody>
      </p:sp>
      <p:cxnSp>
        <p:nvCxnSpPr>
          <p:cNvPr id="34" name="Straight Connector 33">
            <a:extLst>
              <a:ext uri="{FF2B5EF4-FFF2-40B4-BE49-F238E27FC236}">
                <a16:creationId xmlns:a16="http://schemas.microsoft.com/office/drawing/2014/main" id="{B6160ED0-8DD4-4756-0299-ADB9753F3574}"/>
              </a:ext>
            </a:extLst>
          </p:cNvPr>
          <p:cNvCxnSpPr>
            <a:cxnSpLocks/>
          </p:cNvCxnSpPr>
          <p:nvPr/>
        </p:nvCxnSpPr>
        <p:spPr>
          <a:xfrm flipV="1">
            <a:off x="2917795" y="3307641"/>
            <a:ext cx="0" cy="28080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00DA423-8DB6-37FE-3DF0-38C335F36636}"/>
              </a:ext>
            </a:extLst>
          </p:cNvPr>
          <p:cNvSpPr txBox="1"/>
          <p:nvPr/>
        </p:nvSpPr>
        <p:spPr>
          <a:xfrm>
            <a:off x="2704780" y="3567660"/>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R</a:t>
            </a:r>
          </a:p>
        </p:txBody>
      </p:sp>
      <p:grpSp>
        <p:nvGrpSpPr>
          <p:cNvPr id="36" name="Group 35">
            <a:extLst>
              <a:ext uri="{FF2B5EF4-FFF2-40B4-BE49-F238E27FC236}">
                <a16:creationId xmlns:a16="http://schemas.microsoft.com/office/drawing/2014/main" id="{BEE298E0-0E51-9519-3209-ED810253754F}"/>
              </a:ext>
            </a:extLst>
          </p:cNvPr>
          <p:cNvGrpSpPr/>
          <p:nvPr/>
        </p:nvGrpSpPr>
        <p:grpSpPr>
          <a:xfrm>
            <a:off x="2009368" y="4665766"/>
            <a:ext cx="1366600" cy="1488301"/>
            <a:chOff x="7859696" y="2458513"/>
            <a:chExt cx="1366600" cy="1488301"/>
          </a:xfrm>
        </p:grpSpPr>
        <p:grpSp>
          <p:nvGrpSpPr>
            <p:cNvPr id="37" name="Group 36">
              <a:extLst>
                <a:ext uri="{FF2B5EF4-FFF2-40B4-BE49-F238E27FC236}">
                  <a16:creationId xmlns:a16="http://schemas.microsoft.com/office/drawing/2014/main" id="{74400225-1930-E9BA-EF78-C133EC71D27B}"/>
                </a:ext>
              </a:extLst>
            </p:cNvPr>
            <p:cNvGrpSpPr/>
            <p:nvPr/>
          </p:nvGrpSpPr>
          <p:grpSpPr>
            <a:xfrm>
              <a:off x="8159483" y="2458513"/>
              <a:ext cx="731822" cy="1488301"/>
              <a:chOff x="10164129" y="2130777"/>
              <a:chExt cx="731822" cy="1488301"/>
            </a:xfrm>
          </p:grpSpPr>
          <p:sp>
            <p:nvSpPr>
              <p:cNvPr id="44" name="Rectangle 43">
                <a:extLst>
                  <a:ext uri="{FF2B5EF4-FFF2-40B4-BE49-F238E27FC236}">
                    <a16:creationId xmlns:a16="http://schemas.microsoft.com/office/drawing/2014/main" id="{4B92C792-4BC9-706C-EFEE-B56E9A716BDF}"/>
                  </a:ext>
                </a:extLst>
              </p:cNvPr>
              <p:cNvSpPr/>
              <p:nvPr/>
            </p:nvSpPr>
            <p:spPr>
              <a:xfrm>
                <a:off x="10715951" y="3439078"/>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5" name="Group 44">
                <a:extLst>
                  <a:ext uri="{FF2B5EF4-FFF2-40B4-BE49-F238E27FC236}">
                    <a16:creationId xmlns:a16="http://schemas.microsoft.com/office/drawing/2014/main" id="{58B456B0-4E19-AFD2-79F0-7E5AC0299D1D}"/>
                  </a:ext>
                </a:extLst>
              </p:cNvPr>
              <p:cNvGrpSpPr/>
              <p:nvPr/>
            </p:nvGrpSpPr>
            <p:grpSpPr>
              <a:xfrm>
                <a:off x="10164129" y="2130777"/>
                <a:ext cx="551822" cy="787894"/>
                <a:chOff x="8241693" y="2511094"/>
                <a:chExt cx="551822" cy="787894"/>
              </a:xfrm>
            </p:grpSpPr>
            <p:cxnSp>
              <p:nvCxnSpPr>
                <p:cNvPr id="47" name="Straight Connector 46">
                  <a:extLst>
                    <a:ext uri="{FF2B5EF4-FFF2-40B4-BE49-F238E27FC236}">
                      <a16:creationId xmlns:a16="http://schemas.microsoft.com/office/drawing/2014/main" id="{33A57D0E-3480-DEDD-7D11-490CABDBD5C4}"/>
                    </a:ext>
                  </a:extLst>
                </p:cNvPr>
                <p:cNvCxnSpPr>
                  <a:cxnSpLocks/>
                </p:cNvCxnSpPr>
                <p:nvPr/>
              </p:nvCxnSpPr>
              <p:spPr>
                <a:xfrm flipV="1">
                  <a:off x="8241693" y="3051488"/>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52527EB-1AAF-8416-6116-46B5DB9BE2B8}"/>
                    </a:ext>
                  </a:extLst>
                </p:cNvPr>
                <p:cNvCxnSpPr>
                  <a:cxnSpLocks/>
                </p:cNvCxnSpPr>
                <p:nvPr/>
              </p:nvCxnSpPr>
              <p:spPr>
                <a:xfrm flipV="1">
                  <a:off x="854454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4387CB-61B4-1B1B-801E-810C1501326A}"/>
                    </a:ext>
                  </a:extLst>
                </p:cNvPr>
                <p:cNvCxnSpPr>
                  <a:cxnSpLocks/>
                </p:cNvCxnSpPr>
                <p:nvPr/>
              </p:nvCxnSpPr>
              <p:spPr>
                <a:xfrm flipV="1">
                  <a:off x="8583010" y="2788093"/>
                  <a:ext cx="0" cy="27438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44487B8-2B2E-C56E-FE1E-61A2231BEDDD}"/>
                    </a:ext>
                  </a:extLst>
                </p:cNvPr>
                <p:cNvSpPr txBox="1"/>
                <p:nvPr/>
              </p:nvSpPr>
              <p:spPr>
                <a:xfrm>
                  <a:off x="8349380" y="2511094"/>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a:t>
                  </a:r>
                </a:p>
              </p:txBody>
            </p:sp>
          </p:grpSp>
          <p:cxnSp>
            <p:nvCxnSpPr>
              <p:cNvPr id="46" name="Straight Connector 45">
                <a:extLst>
                  <a:ext uri="{FF2B5EF4-FFF2-40B4-BE49-F238E27FC236}">
                    <a16:creationId xmlns:a16="http://schemas.microsoft.com/office/drawing/2014/main" id="{67C291B4-15AD-BD99-656C-AE453E1F2CF9}"/>
                  </a:ext>
                </a:extLst>
              </p:cNvPr>
              <p:cNvCxnSpPr>
                <a:cxnSpLocks/>
              </p:cNvCxnSpPr>
              <p:nvPr/>
            </p:nvCxnSpPr>
            <p:spPr>
              <a:xfrm flipH="1" flipV="1">
                <a:off x="10503104" y="2671171"/>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C83BA620-F96C-AE2C-D565-4498AC23663A}"/>
                </a:ext>
              </a:extLst>
            </p:cNvPr>
            <p:cNvSpPr txBox="1"/>
            <p:nvPr/>
          </p:nvSpPr>
          <p:spPr>
            <a:xfrm>
              <a:off x="8677040" y="3198833"/>
              <a:ext cx="549256"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OH</a:t>
              </a:r>
            </a:p>
          </p:txBody>
        </p:sp>
        <p:cxnSp>
          <p:nvCxnSpPr>
            <p:cNvPr id="39" name="Straight Connector 38">
              <a:extLst>
                <a:ext uri="{FF2B5EF4-FFF2-40B4-BE49-F238E27FC236}">
                  <a16:creationId xmlns:a16="http://schemas.microsoft.com/office/drawing/2014/main" id="{BB74CC34-9B6F-C735-7900-5F6EDEE97066}"/>
                </a:ext>
              </a:extLst>
            </p:cNvPr>
            <p:cNvCxnSpPr>
              <a:cxnSpLocks/>
            </p:cNvCxnSpPr>
            <p:nvPr/>
          </p:nvCxnSpPr>
          <p:spPr>
            <a:xfrm flipH="1" flipV="1">
              <a:off x="7859696" y="3007960"/>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35D84EF4-B650-3658-902C-476DD5E27342}"/>
                </a:ext>
              </a:extLst>
            </p:cNvPr>
            <p:cNvSpPr/>
            <p:nvPr/>
          </p:nvSpPr>
          <p:spPr>
            <a:xfrm>
              <a:off x="8390394" y="2965929"/>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TextBox 40">
              <a:extLst>
                <a:ext uri="{FF2B5EF4-FFF2-40B4-BE49-F238E27FC236}">
                  <a16:creationId xmlns:a16="http://schemas.microsoft.com/office/drawing/2014/main" id="{2FABA0BC-963B-8930-6FFB-DD9B41BD787C}"/>
                </a:ext>
              </a:extLst>
            </p:cNvPr>
            <p:cNvSpPr txBox="1"/>
            <p:nvPr/>
          </p:nvSpPr>
          <p:spPr>
            <a:xfrm>
              <a:off x="8258327" y="2902041"/>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sp>
          <p:nvSpPr>
            <p:cNvPr id="42" name="Rectangle 41">
              <a:extLst>
                <a:ext uri="{FF2B5EF4-FFF2-40B4-BE49-F238E27FC236}">
                  <a16:creationId xmlns:a16="http://schemas.microsoft.com/office/drawing/2014/main" id="{2767D931-6AD9-4C18-A11D-3DA4680019B9}"/>
                </a:ext>
              </a:extLst>
            </p:cNvPr>
            <p:cNvSpPr/>
            <p:nvPr/>
          </p:nvSpPr>
          <p:spPr>
            <a:xfrm>
              <a:off x="8060640" y="3174513"/>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a:extLst>
                <a:ext uri="{FF2B5EF4-FFF2-40B4-BE49-F238E27FC236}">
                  <a16:creationId xmlns:a16="http://schemas.microsoft.com/office/drawing/2014/main" id="{5716A3DB-1BF1-4BD0-4CF9-362E67A55F8B}"/>
                </a:ext>
              </a:extLst>
            </p:cNvPr>
            <p:cNvSpPr txBox="1"/>
            <p:nvPr/>
          </p:nvSpPr>
          <p:spPr>
            <a:xfrm>
              <a:off x="7928573" y="3110625"/>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grpSp>
      <p:sp>
        <p:nvSpPr>
          <p:cNvPr id="51" name="TextBox 50">
            <a:extLst>
              <a:ext uri="{FF2B5EF4-FFF2-40B4-BE49-F238E27FC236}">
                <a16:creationId xmlns:a16="http://schemas.microsoft.com/office/drawing/2014/main" id="{84D71BD3-DF38-FD1D-796D-4A6B2D46CADC}"/>
              </a:ext>
            </a:extLst>
          </p:cNvPr>
          <p:cNvSpPr txBox="1"/>
          <p:nvPr/>
        </p:nvSpPr>
        <p:spPr>
          <a:xfrm>
            <a:off x="1744364" y="5045405"/>
            <a:ext cx="316195" cy="307777"/>
          </a:xfrm>
          <a:prstGeom prst="rect">
            <a:avLst/>
          </a:prstGeom>
          <a:noFill/>
        </p:spPr>
        <p:txBody>
          <a:bodyPr wrap="square" rtlCol="0">
            <a:spAutoFit/>
          </a:bodyPr>
          <a:lstStyle/>
          <a:p>
            <a:pPr algn="ctr"/>
            <a:r>
              <a:rPr lang="en-GB" sz="1400">
                <a:solidFill>
                  <a:srgbClr val="00B050"/>
                </a:solidFill>
                <a:latin typeface="Arial Black" panose="020B0A04020102020204" pitchFamily="34" charset="0"/>
              </a:rPr>
              <a:t>N</a:t>
            </a:r>
          </a:p>
        </p:txBody>
      </p:sp>
      <p:cxnSp>
        <p:nvCxnSpPr>
          <p:cNvPr id="52" name="Straight Connector 51">
            <a:extLst>
              <a:ext uri="{FF2B5EF4-FFF2-40B4-BE49-F238E27FC236}">
                <a16:creationId xmlns:a16="http://schemas.microsoft.com/office/drawing/2014/main" id="{6EA5CE76-4832-7398-A263-102F60D98850}"/>
              </a:ext>
            </a:extLst>
          </p:cNvPr>
          <p:cNvCxnSpPr>
            <a:cxnSpLocks/>
          </p:cNvCxnSpPr>
          <p:nvPr/>
        </p:nvCxnSpPr>
        <p:spPr>
          <a:xfrm flipV="1">
            <a:off x="2300102" y="5561951"/>
            <a:ext cx="0" cy="28080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9F7CB5D-E741-19ED-7D87-36711593AB25}"/>
              </a:ext>
            </a:extLst>
          </p:cNvPr>
          <p:cNvSpPr txBox="1"/>
          <p:nvPr/>
        </p:nvSpPr>
        <p:spPr>
          <a:xfrm>
            <a:off x="2078034" y="5842758"/>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R</a:t>
            </a:r>
          </a:p>
        </p:txBody>
      </p:sp>
      <p:cxnSp>
        <p:nvCxnSpPr>
          <p:cNvPr id="54" name="Straight Connector 53">
            <a:extLst>
              <a:ext uri="{FF2B5EF4-FFF2-40B4-BE49-F238E27FC236}">
                <a16:creationId xmlns:a16="http://schemas.microsoft.com/office/drawing/2014/main" id="{62664057-0870-7F75-14EA-69D92444CC66}"/>
              </a:ext>
            </a:extLst>
          </p:cNvPr>
          <p:cNvCxnSpPr>
            <a:cxnSpLocks/>
          </p:cNvCxnSpPr>
          <p:nvPr/>
        </p:nvCxnSpPr>
        <p:spPr>
          <a:xfrm>
            <a:off x="1527200" y="5215213"/>
            <a:ext cx="257176"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AFF7821-7CD9-E556-8CD4-AA291BE89AC1}"/>
              </a:ext>
            </a:extLst>
          </p:cNvPr>
          <p:cNvCxnSpPr>
            <a:cxnSpLocks/>
          </p:cNvCxnSpPr>
          <p:nvPr/>
        </p:nvCxnSpPr>
        <p:spPr>
          <a:xfrm>
            <a:off x="1527200" y="5169760"/>
            <a:ext cx="257176"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AFD89C74-5C59-C2BF-30AD-FFB0A49F4D67}"/>
              </a:ext>
            </a:extLst>
          </p:cNvPr>
          <p:cNvSpPr txBox="1"/>
          <p:nvPr/>
        </p:nvSpPr>
        <p:spPr>
          <a:xfrm>
            <a:off x="1203131" y="5036002"/>
            <a:ext cx="444135" cy="307777"/>
          </a:xfrm>
          <a:prstGeom prst="rect">
            <a:avLst/>
          </a:prstGeom>
          <a:noFill/>
        </p:spPr>
        <p:txBody>
          <a:bodyPr wrap="square" rtlCol="0" anchor="ctr">
            <a:spAutoFit/>
          </a:bodyPr>
          <a:lstStyle/>
          <a:p>
            <a:pPr algn="ctr"/>
            <a:r>
              <a:rPr lang="en-GB" sz="1400">
                <a:solidFill>
                  <a:srgbClr val="00B050"/>
                </a:solidFill>
                <a:latin typeface="Arial Black" panose="020B0A04020102020204" pitchFamily="34" charset="0"/>
              </a:rPr>
              <a:t>C</a:t>
            </a:r>
          </a:p>
        </p:txBody>
      </p:sp>
      <p:cxnSp>
        <p:nvCxnSpPr>
          <p:cNvPr id="57" name="Straight Connector 56">
            <a:extLst>
              <a:ext uri="{FF2B5EF4-FFF2-40B4-BE49-F238E27FC236}">
                <a16:creationId xmlns:a16="http://schemas.microsoft.com/office/drawing/2014/main" id="{BAD1A489-0B0E-3B54-7591-4CAA9558142C}"/>
              </a:ext>
            </a:extLst>
          </p:cNvPr>
          <p:cNvCxnSpPr>
            <a:cxnSpLocks/>
          </p:cNvCxnSpPr>
          <p:nvPr/>
        </p:nvCxnSpPr>
        <p:spPr>
          <a:xfrm flipV="1">
            <a:off x="1025369" y="5241464"/>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F595FD8-2C13-999C-5A7A-800E3E037617}"/>
              </a:ext>
            </a:extLst>
          </p:cNvPr>
          <p:cNvCxnSpPr>
            <a:cxnSpLocks/>
          </p:cNvCxnSpPr>
          <p:nvPr/>
        </p:nvCxnSpPr>
        <p:spPr>
          <a:xfrm flipH="1" flipV="1">
            <a:off x="725582" y="5250517"/>
            <a:ext cx="302847" cy="2475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E388076F-2068-A9B0-116A-6A5CA6584BFD}"/>
              </a:ext>
            </a:extLst>
          </p:cNvPr>
          <p:cNvSpPr/>
          <p:nvPr/>
        </p:nvSpPr>
        <p:spPr>
          <a:xfrm>
            <a:off x="926526" y="5417070"/>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TextBox 59">
            <a:extLst>
              <a:ext uri="{FF2B5EF4-FFF2-40B4-BE49-F238E27FC236}">
                <a16:creationId xmlns:a16="http://schemas.microsoft.com/office/drawing/2014/main" id="{34C551B0-8299-56CB-8B7E-A2C089EE6E67}"/>
              </a:ext>
            </a:extLst>
          </p:cNvPr>
          <p:cNvSpPr txBox="1"/>
          <p:nvPr/>
        </p:nvSpPr>
        <p:spPr>
          <a:xfrm>
            <a:off x="794459" y="5353182"/>
            <a:ext cx="444135" cy="307777"/>
          </a:xfrm>
          <a:prstGeom prst="rect">
            <a:avLst/>
          </a:prstGeom>
          <a:noFill/>
        </p:spPr>
        <p:txBody>
          <a:bodyPr wrap="square" rtlCol="0" anchor="ctr">
            <a:spAutoFit/>
          </a:bodyPr>
          <a:lstStyle/>
          <a:p>
            <a:pPr algn="ctr"/>
            <a:r>
              <a:rPr lang="en-GB" sz="1400">
                <a:solidFill>
                  <a:srgbClr val="002060"/>
                </a:solidFill>
                <a:latin typeface="Arial Black" panose="020B0A04020102020204" pitchFamily="34" charset="0"/>
              </a:rPr>
              <a:t>C</a:t>
            </a:r>
          </a:p>
        </p:txBody>
      </p:sp>
      <p:sp>
        <p:nvSpPr>
          <p:cNvPr id="61" name="TextBox 60">
            <a:extLst>
              <a:ext uri="{FF2B5EF4-FFF2-40B4-BE49-F238E27FC236}">
                <a16:creationId xmlns:a16="http://schemas.microsoft.com/office/drawing/2014/main" id="{97CDE7CC-3EFE-6777-FB5F-3AB68EB86058}"/>
              </a:ext>
            </a:extLst>
          </p:cNvPr>
          <p:cNvSpPr txBox="1"/>
          <p:nvPr/>
        </p:nvSpPr>
        <p:spPr>
          <a:xfrm>
            <a:off x="1471835" y="4578252"/>
            <a:ext cx="688956" cy="307777"/>
          </a:xfrm>
          <a:prstGeom prst="rect">
            <a:avLst/>
          </a:prstGeom>
          <a:noFill/>
        </p:spPr>
        <p:txBody>
          <a:bodyPr wrap="square" rtlCol="0">
            <a:spAutoFit/>
          </a:bodyPr>
          <a:lstStyle/>
          <a:p>
            <a:pPr algn="ctr"/>
            <a:r>
              <a:rPr lang="en-GB" sz="1400">
                <a:solidFill>
                  <a:srgbClr val="FF0000"/>
                </a:solidFill>
                <a:latin typeface="Arial Black" panose="020B0A04020102020204" pitchFamily="34" charset="0"/>
              </a:rPr>
              <a:t>H</a:t>
            </a:r>
            <a:r>
              <a:rPr lang="en-GB" sz="1400" baseline="-25000">
                <a:solidFill>
                  <a:srgbClr val="FF0000"/>
                </a:solidFill>
                <a:latin typeface="Arial Black" panose="020B0A04020102020204" pitchFamily="34" charset="0"/>
              </a:rPr>
              <a:t>2</a:t>
            </a:r>
            <a:r>
              <a:rPr lang="en-GB" sz="1400">
                <a:solidFill>
                  <a:srgbClr val="FF0000"/>
                </a:solidFill>
                <a:latin typeface="Arial Black" panose="020B0A04020102020204" pitchFamily="34" charset="0"/>
              </a:rPr>
              <a:t>O</a:t>
            </a:r>
          </a:p>
        </p:txBody>
      </p:sp>
      <p:sp>
        <p:nvSpPr>
          <p:cNvPr id="62" name="Arc 61">
            <a:extLst>
              <a:ext uri="{FF2B5EF4-FFF2-40B4-BE49-F238E27FC236}">
                <a16:creationId xmlns:a16="http://schemas.microsoft.com/office/drawing/2014/main" id="{EBB34DB3-1F85-EF42-DE3B-98A72B444453}"/>
              </a:ext>
            </a:extLst>
          </p:cNvPr>
          <p:cNvSpPr/>
          <p:nvPr/>
        </p:nvSpPr>
        <p:spPr>
          <a:xfrm rot="11670483" flipH="1">
            <a:off x="1463387" y="4752374"/>
            <a:ext cx="367758" cy="315891"/>
          </a:xfrm>
          <a:prstGeom prst="arc">
            <a:avLst>
              <a:gd name="adj1" fmla="val 12292689"/>
              <a:gd name="adj2" fmla="val 1297196"/>
            </a:avLst>
          </a:prstGeom>
          <a:ln w="1905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TextBox 62">
            <a:extLst>
              <a:ext uri="{FF2B5EF4-FFF2-40B4-BE49-F238E27FC236}">
                <a16:creationId xmlns:a16="http://schemas.microsoft.com/office/drawing/2014/main" id="{D88D65B5-C3EF-1D45-4182-A9F690E882C4}"/>
              </a:ext>
            </a:extLst>
          </p:cNvPr>
          <p:cNvSpPr txBox="1"/>
          <p:nvPr/>
        </p:nvSpPr>
        <p:spPr>
          <a:xfrm>
            <a:off x="261889" y="3796952"/>
            <a:ext cx="1567526" cy="276999"/>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Reducing sugar</a:t>
            </a:r>
            <a:endParaRPr lang="en-GB" sz="700">
              <a:solidFill>
                <a:srgbClr val="000A1E"/>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B4A13144-D387-428F-7F98-B7B2AA4428F0}"/>
              </a:ext>
            </a:extLst>
          </p:cNvPr>
          <p:cNvSpPr txBox="1"/>
          <p:nvPr/>
        </p:nvSpPr>
        <p:spPr>
          <a:xfrm>
            <a:off x="2578575" y="3807447"/>
            <a:ext cx="1567526" cy="276999"/>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Amino acid</a:t>
            </a:r>
            <a:endParaRPr lang="en-GB" sz="700">
              <a:solidFill>
                <a:srgbClr val="000A1E"/>
              </a:solidFill>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79995864-F0E9-045F-50E0-DBB8E1F3743C}"/>
              </a:ext>
            </a:extLst>
          </p:cNvPr>
          <p:cNvSpPr txBox="1"/>
          <p:nvPr/>
        </p:nvSpPr>
        <p:spPr>
          <a:xfrm>
            <a:off x="182352" y="3028956"/>
            <a:ext cx="444135" cy="307777"/>
          </a:xfrm>
          <a:prstGeom prst="rect">
            <a:avLst/>
          </a:prstGeom>
          <a:noFill/>
        </p:spPr>
        <p:txBody>
          <a:bodyPr wrap="square" rtlCol="0">
            <a:spAutoFit/>
          </a:bodyPr>
          <a:lstStyle/>
          <a:p>
            <a:pPr algn="ctr"/>
            <a:r>
              <a:rPr lang="en-GB" sz="1400">
                <a:solidFill>
                  <a:srgbClr val="002060"/>
                </a:solidFill>
                <a:latin typeface="Arial Black" panose="020B0A04020102020204" pitchFamily="34" charset="0"/>
              </a:rPr>
              <a:t>R</a:t>
            </a:r>
          </a:p>
        </p:txBody>
      </p:sp>
      <p:sp>
        <p:nvSpPr>
          <p:cNvPr id="66" name="TextBox 65">
            <a:extLst>
              <a:ext uri="{FF2B5EF4-FFF2-40B4-BE49-F238E27FC236}">
                <a16:creationId xmlns:a16="http://schemas.microsoft.com/office/drawing/2014/main" id="{979FA844-0BCB-2CF0-602F-29E604A7F571}"/>
              </a:ext>
            </a:extLst>
          </p:cNvPr>
          <p:cNvSpPr txBox="1"/>
          <p:nvPr/>
        </p:nvSpPr>
        <p:spPr>
          <a:xfrm>
            <a:off x="1533814" y="6142704"/>
            <a:ext cx="1567526" cy="276999"/>
          </a:xfrm>
          <a:prstGeom prst="rect">
            <a:avLst/>
          </a:prstGeom>
          <a:noFill/>
        </p:spPr>
        <p:txBody>
          <a:bodyPr wrap="square" rtlCol="0">
            <a:spAutoFit/>
          </a:bodyPr>
          <a:lstStyle/>
          <a:p>
            <a:pPr algn="ctr"/>
            <a:r>
              <a:rPr lang="en-GB" sz="1200" err="1">
                <a:solidFill>
                  <a:srgbClr val="000A1E"/>
                </a:solidFill>
                <a:latin typeface="Arial Black" panose="020B0A04020102020204" pitchFamily="34" charset="0"/>
              </a:rPr>
              <a:t>Glycosylamine</a:t>
            </a:r>
            <a:endParaRPr lang="en-GB" sz="700">
              <a:solidFill>
                <a:srgbClr val="000A1E"/>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042C8E9C-3A32-1DA1-4FAE-3A5B28CB0DB4}"/>
              </a:ext>
            </a:extLst>
          </p:cNvPr>
          <p:cNvSpPr txBox="1"/>
          <p:nvPr/>
        </p:nvSpPr>
        <p:spPr>
          <a:xfrm>
            <a:off x="1864531" y="3162556"/>
            <a:ext cx="444135" cy="461665"/>
          </a:xfrm>
          <a:prstGeom prst="rect">
            <a:avLst/>
          </a:prstGeom>
          <a:noFill/>
        </p:spPr>
        <p:txBody>
          <a:bodyPr wrap="square" rtlCol="0">
            <a:spAutoFit/>
          </a:bodyPr>
          <a:lstStyle/>
          <a:p>
            <a:pPr algn="ctr"/>
            <a:r>
              <a:rPr lang="en-GB" sz="2400">
                <a:solidFill>
                  <a:srgbClr val="002060"/>
                </a:solidFill>
                <a:latin typeface="Arial Black" panose="020B0A04020102020204" pitchFamily="34" charset="0"/>
              </a:rPr>
              <a:t>+</a:t>
            </a:r>
          </a:p>
        </p:txBody>
      </p:sp>
      <p:sp>
        <p:nvSpPr>
          <p:cNvPr id="68" name="Arrow: Down 67">
            <a:extLst>
              <a:ext uri="{FF2B5EF4-FFF2-40B4-BE49-F238E27FC236}">
                <a16:creationId xmlns:a16="http://schemas.microsoft.com/office/drawing/2014/main" id="{670689CE-D1CC-D290-F200-9C7C0140E317}"/>
              </a:ext>
            </a:extLst>
          </p:cNvPr>
          <p:cNvSpPr/>
          <p:nvPr/>
        </p:nvSpPr>
        <p:spPr>
          <a:xfrm>
            <a:off x="1986180" y="4006407"/>
            <a:ext cx="260975" cy="46166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Box 70">
            <a:extLst>
              <a:ext uri="{FF2B5EF4-FFF2-40B4-BE49-F238E27FC236}">
                <a16:creationId xmlns:a16="http://schemas.microsoft.com/office/drawing/2014/main" id="{A8D0E43A-F240-DDDA-EACE-AD793446F23E}"/>
              </a:ext>
            </a:extLst>
          </p:cNvPr>
          <p:cNvSpPr txBox="1"/>
          <p:nvPr/>
        </p:nvSpPr>
        <p:spPr>
          <a:xfrm>
            <a:off x="836953" y="1809478"/>
            <a:ext cx="2525385" cy="307777"/>
          </a:xfrm>
          <a:prstGeom prst="rect">
            <a:avLst/>
          </a:prstGeom>
          <a:noFill/>
        </p:spPr>
        <p:txBody>
          <a:bodyPr wrap="square" rtlCol="0">
            <a:spAutoFit/>
          </a:bodyPr>
          <a:lstStyle/>
          <a:p>
            <a:pPr algn="ctr"/>
            <a:r>
              <a:rPr lang="en-GB" sz="1400" b="1" i="0">
                <a:effectLst/>
                <a:latin typeface="Arial" panose="020B0604020202020204" pitchFamily="34" charset="0"/>
                <a:cs typeface="Arial" panose="020B0604020202020204" pitchFamily="34" charset="0"/>
              </a:rPr>
              <a:t>Maillard reaction - initiation</a:t>
            </a:r>
            <a:endParaRPr lang="en-GB" sz="1400" b="1">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33F10D59-308C-913E-2A2F-099C7BD6C9EC}"/>
              </a:ext>
            </a:extLst>
          </p:cNvPr>
          <p:cNvSpPr txBox="1"/>
          <p:nvPr/>
        </p:nvSpPr>
        <p:spPr>
          <a:xfrm>
            <a:off x="5048272" y="1800512"/>
            <a:ext cx="2525385" cy="307777"/>
          </a:xfrm>
          <a:prstGeom prst="rect">
            <a:avLst/>
          </a:prstGeom>
          <a:noFill/>
        </p:spPr>
        <p:txBody>
          <a:bodyPr wrap="square" rtlCol="0">
            <a:spAutoFit/>
          </a:bodyPr>
          <a:lstStyle/>
          <a:p>
            <a:pPr algn="ctr"/>
            <a:r>
              <a:rPr lang="en-GB" sz="1400" b="1" i="0" err="1">
                <a:effectLst/>
                <a:latin typeface="Arial" panose="020B0604020202020204" pitchFamily="34" charset="0"/>
                <a:cs typeface="Arial" panose="020B0604020202020204" pitchFamily="34" charset="0"/>
              </a:rPr>
              <a:t>Dextrinisation</a:t>
            </a:r>
            <a:endParaRPr lang="en-GB" sz="1400" b="1">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A0DD06F2-9185-5604-BDC7-BCCBD74AD6F5}"/>
              </a:ext>
            </a:extLst>
          </p:cNvPr>
          <p:cNvSpPr txBox="1"/>
          <p:nvPr/>
        </p:nvSpPr>
        <p:spPr>
          <a:xfrm>
            <a:off x="9043576" y="1802395"/>
            <a:ext cx="2525385" cy="307777"/>
          </a:xfrm>
          <a:prstGeom prst="rect">
            <a:avLst/>
          </a:prstGeom>
          <a:noFill/>
        </p:spPr>
        <p:txBody>
          <a:bodyPr wrap="square" rtlCol="0">
            <a:spAutoFit/>
          </a:bodyPr>
          <a:lstStyle/>
          <a:p>
            <a:pPr algn="ctr"/>
            <a:r>
              <a:rPr lang="en-GB" sz="1400" b="1" i="0">
                <a:effectLst/>
                <a:latin typeface="Arial" panose="020B0604020202020204" pitchFamily="34" charset="0"/>
                <a:cs typeface="Arial" panose="020B0604020202020204" pitchFamily="34" charset="0"/>
              </a:rPr>
              <a:t>Caramelisation</a:t>
            </a:r>
            <a:endParaRPr lang="en-GB" sz="1400" b="1">
              <a:latin typeface="Arial" panose="020B0604020202020204" pitchFamily="34" charset="0"/>
              <a:cs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3">
            <p14:nvContentPartPr>
              <p14:cNvPr id="74" name="Ink 73">
                <a:extLst>
                  <a:ext uri="{FF2B5EF4-FFF2-40B4-BE49-F238E27FC236}">
                    <a16:creationId xmlns:a16="http://schemas.microsoft.com/office/drawing/2014/main" id="{CDACC5A2-33A8-79DE-76D7-E2E613EBF38F}"/>
                  </a:ext>
                </a:extLst>
              </p14:cNvPr>
              <p14:cNvContentPartPr/>
              <p14:nvPr/>
            </p14:nvContentPartPr>
            <p14:xfrm>
              <a:off x="4593409" y="2741966"/>
              <a:ext cx="1057680" cy="501480"/>
            </p14:xfrm>
          </p:contentPart>
        </mc:Choice>
        <mc:Fallback xmlns="">
          <p:pic>
            <p:nvPicPr>
              <p:cNvPr id="74" name="Ink 73">
                <a:extLst>
                  <a:ext uri="{FF2B5EF4-FFF2-40B4-BE49-F238E27FC236}">
                    <a16:creationId xmlns:a16="http://schemas.microsoft.com/office/drawing/2014/main" id="{CDACC5A2-33A8-79DE-76D7-E2E613EBF38F}"/>
                  </a:ext>
                </a:extLst>
              </p:cNvPr>
              <p:cNvPicPr/>
              <p:nvPr/>
            </p:nvPicPr>
            <p:blipFill>
              <a:blip r:embed="rId4"/>
              <a:stretch>
                <a:fillRect/>
              </a:stretch>
            </p:blipFill>
            <p:spPr>
              <a:xfrm>
                <a:off x="4584412" y="2732966"/>
                <a:ext cx="1075314" cy="519120"/>
              </a:xfrm>
              <a:prstGeom prst="rect">
                <a:avLst/>
              </a:prstGeom>
            </p:spPr>
          </p:pic>
        </mc:Fallback>
      </mc:AlternateContent>
      <p:grpSp>
        <p:nvGrpSpPr>
          <p:cNvPr id="106" name="Group 105">
            <a:extLst>
              <a:ext uri="{FF2B5EF4-FFF2-40B4-BE49-F238E27FC236}">
                <a16:creationId xmlns:a16="http://schemas.microsoft.com/office/drawing/2014/main" id="{F0B68C78-454C-2EDB-7F16-AC4ABFD3A663}"/>
              </a:ext>
            </a:extLst>
          </p:cNvPr>
          <p:cNvGrpSpPr/>
          <p:nvPr/>
        </p:nvGrpSpPr>
        <p:grpSpPr>
          <a:xfrm>
            <a:off x="6333977" y="2486288"/>
            <a:ext cx="1227271" cy="1190136"/>
            <a:chOff x="6808707" y="2540680"/>
            <a:chExt cx="1589400" cy="1607400"/>
          </a:xfrm>
        </p:grpSpPr>
        <p:grpSp>
          <p:nvGrpSpPr>
            <p:cNvPr id="86" name="Group 85">
              <a:extLst>
                <a:ext uri="{FF2B5EF4-FFF2-40B4-BE49-F238E27FC236}">
                  <a16:creationId xmlns:a16="http://schemas.microsoft.com/office/drawing/2014/main" id="{6E509B44-EE41-A488-22B2-7AE1DA5EA973}"/>
                </a:ext>
              </a:extLst>
            </p:cNvPr>
            <p:cNvGrpSpPr/>
            <p:nvPr/>
          </p:nvGrpSpPr>
          <p:grpSpPr>
            <a:xfrm>
              <a:off x="6808707" y="2540680"/>
              <a:ext cx="1589400" cy="1481400"/>
              <a:chOff x="6808707" y="2540680"/>
              <a:chExt cx="1589400" cy="1481400"/>
            </a:xfrm>
          </p:grpSpPr>
          <mc:AlternateContent xmlns:mc="http://schemas.openxmlformats.org/markup-compatibility/2006" xmlns:p14="http://schemas.microsoft.com/office/powerpoint/2010/main">
            <mc:Choice Requires="p14">
              <p:contentPart p14:bwMode="auto" r:id="rId5">
                <p14:nvContentPartPr>
                  <p14:cNvPr id="75" name="Ink 74">
                    <a:extLst>
                      <a:ext uri="{FF2B5EF4-FFF2-40B4-BE49-F238E27FC236}">
                        <a16:creationId xmlns:a16="http://schemas.microsoft.com/office/drawing/2014/main" id="{F5916261-CEFC-DD93-F148-AE5FE044A597}"/>
                      </a:ext>
                    </a:extLst>
                  </p14:cNvPr>
                  <p14:cNvContentPartPr/>
                  <p14:nvPr/>
                </p14:nvContentPartPr>
                <p14:xfrm>
                  <a:off x="6808707" y="2540680"/>
                  <a:ext cx="1346760" cy="1033560"/>
                </p14:xfrm>
              </p:contentPart>
            </mc:Choice>
            <mc:Fallback xmlns="">
              <p:pic>
                <p:nvPicPr>
                  <p:cNvPr id="75" name="Ink 74">
                    <a:extLst>
                      <a:ext uri="{FF2B5EF4-FFF2-40B4-BE49-F238E27FC236}">
                        <a16:creationId xmlns:a16="http://schemas.microsoft.com/office/drawing/2014/main" id="{F5916261-CEFC-DD93-F148-AE5FE044A597}"/>
                      </a:ext>
                    </a:extLst>
                  </p:cNvPr>
                  <p:cNvPicPr/>
                  <p:nvPr/>
                </p:nvPicPr>
                <p:blipFill>
                  <a:blip r:embed="rId6"/>
                  <a:stretch>
                    <a:fillRect/>
                  </a:stretch>
                </p:blipFill>
                <p:spPr>
                  <a:xfrm>
                    <a:off x="6797053" y="2528526"/>
                    <a:ext cx="1369602" cy="105738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7" name="Ink 96">
                    <a:extLst>
                      <a:ext uri="{FF2B5EF4-FFF2-40B4-BE49-F238E27FC236}">
                        <a16:creationId xmlns:a16="http://schemas.microsoft.com/office/drawing/2014/main" id="{5BD50433-8FDA-C49F-14ED-513B9CE2A894}"/>
                      </a:ext>
                    </a:extLst>
                  </p14:cNvPr>
                  <p14:cNvContentPartPr/>
                  <p14:nvPr/>
                </p14:nvContentPartPr>
                <p14:xfrm>
                  <a:off x="7187787" y="3423040"/>
                  <a:ext cx="137160" cy="599040"/>
                </p14:xfrm>
              </p:contentPart>
            </mc:Choice>
            <mc:Fallback xmlns="">
              <p:pic>
                <p:nvPicPr>
                  <p:cNvPr id="97" name="Ink 96">
                    <a:extLst>
                      <a:ext uri="{FF2B5EF4-FFF2-40B4-BE49-F238E27FC236}">
                        <a16:creationId xmlns:a16="http://schemas.microsoft.com/office/drawing/2014/main" id="{5BD50433-8FDA-C49F-14ED-513B9CE2A894}"/>
                      </a:ext>
                    </a:extLst>
                  </p:cNvPr>
                  <p:cNvPicPr/>
                  <p:nvPr/>
                </p:nvPicPr>
                <p:blipFill>
                  <a:blip r:embed="rId8"/>
                  <a:stretch>
                    <a:fillRect/>
                  </a:stretch>
                </p:blipFill>
                <p:spPr>
                  <a:xfrm>
                    <a:off x="7176163" y="3410884"/>
                    <a:ext cx="159943" cy="622865"/>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78" name="Ink 77">
                    <a:extLst>
                      <a:ext uri="{FF2B5EF4-FFF2-40B4-BE49-F238E27FC236}">
                        <a16:creationId xmlns:a16="http://schemas.microsoft.com/office/drawing/2014/main" id="{CFF723EA-98EE-D5FC-08EF-D293AD2848BF}"/>
                      </a:ext>
                    </a:extLst>
                  </p14:cNvPr>
                  <p14:cNvContentPartPr/>
                  <p14:nvPr/>
                </p14:nvContentPartPr>
                <p14:xfrm>
                  <a:off x="7082667" y="2816440"/>
                  <a:ext cx="514440" cy="477360"/>
                </p14:xfrm>
              </p:contentPart>
            </mc:Choice>
            <mc:Fallback xmlns="">
              <p:pic>
                <p:nvPicPr>
                  <p:cNvPr id="78" name="Ink 77">
                    <a:extLst>
                      <a:ext uri="{FF2B5EF4-FFF2-40B4-BE49-F238E27FC236}">
                        <a16:creationId xmlns:a16="http://schemas.microsoft.com/office/drawing/2014/main" id="{CFF723EA-98EE-D5FC-08EF-D293AD2848BF}"/>
                      </a:ext>
                    </a:extLst>
                  </p:cNvPr>
                  <p:cNvPicPr/>
                  <p:nvPr/>
                </p:nvPicPr>
                <p:blipFill>
                  <a:blip r:embed="rId10"/>
                  <a:stretch>
                    <a:fillRect/>
                  </a:stretch>
                </p:blipFill>
                <p:spPr>
                  <a:xfrm>
                    <a:off x="7071018" y="2804287"/>
                    <a:ext cx="537273" cy="501179"/>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00" name="Ink 99">
                    <a:extLst>
                      <a:ext uri="{FF2B5EF4-FFF2-40B4-BE49-F238E27FC236}">
                        <a16:creationId xmlns:a16="http://schemas.microsoft.com/office/drawing/2014/main" id="{87E1301A-C3D5-135A-CD48-A7B986A3B313}"/>
                      </a:ext>
                    </a:extLst>
                  </p14:cNvPr>
                  <p14:cNvContentPartPr/>
                  <p14:nvPr/>
                </p14:nvContentPartPr>
                <p14:xfrm>
                  <a:off x="7925427" y="2545720"/>
                  <a:ext cx="307440" cy="638280"/>
                </p14:xfrm>
              </p:contentPart>
            </mc:Choice>
            <mc:Fallback xmlns="">
              <p:pic>
                <p:nvPicPr>
                  <p:cNvPr id="100" name="Ink 99">
                    <a:extLst>
                      <a:ext uri="{FF2B5EF4-FFF2-40B4-BE49-F238E27FC236}">
                        <a16:creationId xmlns:a16="http://schemas.microsoft.com/office/drawing/2014/main" id="{87E1301A-C3D5-135A-CD48-A7B986A3B313}"/>
                      </a:ext>
                    </a:extLst>
                  </p:cNvPr>
                  <p:cNvPicPr/>
                  <p:nvPr/>
                </p:nvPicPr>
                <p:blipFill>
                  <a:blip r:embed="rId12"/>
                  <a:stretch>
                    <a:fillRect/>
                  </a:stretch>
                </p:blipFill>
                <p:spPr>
                  <a:xfrm>
                    <a:off x="7913764" y="2533567"/>
                    <a:ext cx="330300" cy="6621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82" name="Ink 81">
                    <a:extLst>
                      <a:ext uri="{FF2B5EF4-FFF2-40B4-BE49-F238E27FC236}">
                        <a16:creationId xmlns:a16="http://schemas.microsoft.com/office/drawing/2014/main" id="{D753EEFF-1653-819E-14D9-7FD4084BC8C8}"/>
                      </a:ext>
                    </a:extLst>
                  </p14:cNvPr>
                  <p14:cNvContentPartPr/>
                  <p14:nvPr/>
                </p14:nvContentPartPr>
                <p14:xfrm>
                  <a:off x="8208027" y="3211720"/>
                  <a:ext cx="190080" cy="83520"/>
                </p14:xfrm>
              </p:contentPart>
            </mc:Choice>
            <mc:Fallback xmlns="">
              <p:pic>
                <p:nvPicPr>
                  <p:cNvPr id="82" name="Ink 81">
                    <a:extLst>
                      <a:ext uri="{FF2B5EF4-FFF2-40B4-BE49-F238E27FC236}">
                        <a16:creationId xmlns:a16="http://schemas.microsoft.com/office/drawing/2014/main" id="{D753EEFF-1653-819E-14D9-7FD4084BC8C8}"/>
                      </a:ext>
                    </a:extLst>
                  </p:cNvPr>
                  <p:cNvPicPr/>
                  <p:nvPr/>
                </p:nvPicPr>
                <p:blipFill>
                  <a:blip r:embed="rId14"/>
                  <a:stretch>
                    <a:fillRect/>
                  </a:stretch>
                </p:blipFill>
                <p:spPr>
                  <a:xfrm>
                    <a:off x="8196380" y="3199580"/>
                    <a:ext cx="212908" cy="107313"/>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83" name="Ink 82">
                    <a:extLst>
                      <a:ext uri="{FF2B5EF4-FFF2-40B4-BE49-F238E27FC236}">
                        <a16:creationId xmlns:a16="http://schemas.microsoft.com/office/drawing/2014/main" id="{11200C1E-E159-E12C-3EAB-1B640279CC37}"/>
                      </a:ext>
                    </a:extLst>
                  </p14:cNvPr>
                  <p14:cNvContentPartPr/>
                  <p14:nvPr/>
                </p14:nvContentPartPr>
                <p14:xfrm>
                  <a:off x="8038827" y="3192280"/>
                  <a:ext cx="199440" cy="142200"/>
                </p14:xfrm>
              </p:contentPart>
            </mc:Choice>
            <mc:Fallback xmlns="">
              <p:pic>
                <p:nvPicPr>
                  <p:cNvPr id="83" name="Ink 82">
                    <a:extLst>
                      <a:ext uri="{FF2B5EF4-FFF2-40B4-BE49-F238E27FC236}">
                        <a16:creationId xmlns:a16="http://schemas.microsoft.com/office/drawing/2014/main" id="{11200C1E-E159-E12C-3EAB-1B640279CC37}"/>
                      </a:ext>
                    </a:extLst>
                  </p:cNvPr>
                  <p:cNvPicPr/>
                  <p:nvPr/>
                </p:nvPicPr>
                <p:blipFill>
                  <a:blip r:embed="rId16"/>
                  <a:stretch>
                    <a:fillRect/>
                  </a:stretch>
                </p:blipFill>
                <p:spPr>
                  <a:xfrm>
                    <a:off x="8027177" y="3180147"/>
                    <a:ext cx="222273" cy="165981"/>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85" name="Ink 84">
                    <a:extLst>
                      <a:ext uri="{FF2B5EF4-FFF2-40B4-BE49-F238E27FC236}">
                        <a16:creationId xmlns:a16="http://schemas.microsoft.com/office/drawing/2014/main" id="{5D414A84-3ED2-EDC5-D916-17E50F2C1F8C}"/>
                      </a:ext>
                    </a:extLst>
                  </p14:cNvPr>
                  <p14:cNvContentPartPr/>
                  <p14:nvPr/>
                </p14:nvContentPartPr>
                <p14:xfrm>
                  <a:off x="8206947" y="3225400"/>
                  <a:ext cx="27360" cy="133560"/>
                </p14:xfrm>
              </p:contentPart>
            </mc:Choice>
            <mc:Fallback xmlns="">
              <p:pic>
                <p:nvPicPr>
                  <p:cNvPr id="85" name="Ink 84">
                    <a:extLst>
                      <a:ext uri="{FF2B5EF4-FFF2-40B4-BE49-F238E27FC236}">
                        <a16:creationId xmlns:a16="http://schemas.microsoft.com/office/drawing/2014/main" id="{5D414A84-3ED2-EDC5-D916-17E50F2C1F8C}"/>
                      </a:ext>
                    </a:extLst>
                  </p:cNvPr>
                  <p:cNvPicPr/>
                  <p:nvPr/>
                </p:nvPicPr>
                <p:blipFill>
                  <a:blip r:embed="rId18"/>
                  <a:stretch>
                    <a:fillRect/>
                  </a:stretch>
                </p:blipFill>
                <p:spPr>
                  <a:xfrm>
                    <a:off x="8195354" y="3213258"/>
                    <a:ext cx="50083" cy="157358"/>
                  </a:xfrm>
                  <a:prstGeom prst="rect">
                    <a:avLst/>
                  </a:prstGeom>
                </p:spPr>
              </p:pic>
            </mc:Fallback>
          </mc:AlternateContent>
        </p:grpSp>
        <p:grpSp>
          <p:nvGrpSpPr>
            <p:cNvPr id="89" name="Group 88">
              <a:extLst>
                <a:ext uri="{FF2B5EF4-FFF2-40B4-BE49-F238E27FC236}">
                  <a16:creationId xmlns:a16="http://schemas.microsoft.com/office/drawing/2014/main" id="{B79ACC03-5E06-7560-CC11-F130E5D5BB89}"/>
                </a:ext>
              </a:extLst>
            </p:cNvPr>
            <p:cNvGrpSpPr/>
            <p:nvPr/>
          </p:nvGrpSpPr>
          <p:grpSpPr>
            <a:xfrm>
              <a:off x="6993747" y="3995080"/>
              <a:ext cx="364680" cy="153000"/>
              <a:chOff x="6993747" y="3995080"/>
              <a:chExt cx="364680" cy="153000"/>
            </a:xfrm>
          </p:grpSpPr>
          <mc:AlternateContent xmlns:mc="http://schemas.openxmlformats.org/markup-compatibility/2006" xmlns:p14="http://schemas.microsoft.com/office/powerpoint/2010/main">
            <mc:Choice Requires="p14">
              <p:contentPart p14:bwMode="auto" r:id="rId19">
                <p14:nvContentPartPr>
                  <p14:cNvPr id="101" name="Ink 100">
                    <a:extLst>
                      <a:ext uri="{FF2B5EF4-FFF2-40B4-BE49-F238E27FC236}">
                        <a16:creationId xmlns:a16="http://schemas.microsoft.com/office/drawing/2014/main" id="{FD7BF48C-583A-DB1D-48ED-9E0C453BC24A}"/>
                      </a:ext>
                    </a:extLst>
                  </p14:cNvPr>
                  <p14:cNvContentPartPr/>
                  <p14:nvPr/>
                </p14:nvContentPartPr>
                <p14:xfrm>
                  <a:off x="7239627" y="4001200"/>
                  <a:ext cx="118800" cy="146880"/>
                </p14:xfrm>
              </p:contentPart>
            </mc:Choice>
            <mc:Fallback xmlns="">
              <p:pic>
                <p:nvPicPr>
                  <p:cNvPr id="101" name="Ink 100">
                    <a:extLst>
                      <a:ext uri="{FF2B5EF4-FFF2-40B4-BE49-F238E27FC236}">
                        <a16:creationId xmlns:a16="http://schemas.microsoft.com/office/drawing/2014/main" id="{FD7BF48C-583A-DB1D-48ED-9E0C453BC24A}"/>
                      </a:ext>
                    </a:extLst>
                  </p:cNvPr>
                  <p:cNvPicPr/>
                  <p:nvPr/>
                </p:nvPicPr>
                <p:blipFill>
                  <a:blip r:embed="rId20"/>
                  <a:stretch>
                    <a:fillRect/>
                  </a:stretch>
                </p:blipFill>
                <p:spPr>
                  <a:xfrm>
                    <a:off x="7227980" y="3989041"/>
                    <a:ext cx="141628" cy="17071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88" name="Ink 87">
                    <a:extLst>
                      <a:ext uri="{FF2B5EF4-FFF2-40B4-BE49-F238E27FC236}">
                        <a16:creationId xmlns:a16="http://schemas.microsoft.com/office/drawing/2014/main" id="{59D02A75-8B14-05DE-4C3F-2094D473F794}"/>
                      </a:ext>
                    </a:extLst>
                  </p14:cNvPr>
                  <p14:cNvContentPartPr/>
                  <p14:nvPr/>
                </p14:nvContentPartPr>
                <p14:xfrm>
                  <a:off x="6993747" y="3995080"/>
                  <a:ext cx="253080" cy="145080"/>
                </p14:xfrm>
              </p:contentPart>
            </mc:Choice>
            <mc:Fallback xmlns="">
              <p:pic>
                <p:nvPicPr>
                  <p:cNvPr id="88" name="Ink 87">
                    <a:extLst>
                      <a:ext uri="{FF2B5EF4-FFF2-40B4-BE49-F238E27FC236}">
                        <a16:creationId xmlns:a16="http://schemas.microsoft.com/office/drawing/2014/main" id="{59D02A75-8B14-05DE-4C3F-2094D473F794}"/>
                      </a:ext>
                    </a:extLst>
                  </p:cNvPr>
                  <p:cNvPicPr/>
                  <p:nvPr/>
                </p:nvPicPr>
                <p:blipFill>
                  <a:blip r:embed="rId22"/>
                  <a:stretch>
                    <a:fillRect/>
                  </a:stretch>
                </p:blipFill>
                <p:spPr>
                  <a:xfrm>
                    <a:off x="6982095" y="3982909"/>
                    <a:ext cx="275918" cy="168935"/>
                  </a:xfrm>
                  <a:prstGeom prst="rect">
                    <a:avLst/>
                  </a:prstGeom>
                </p:spPr>
              </p:pic>
            </mc:Fallback>
          </mc:AlternateContent>
        </p:grpSp>
        <p:grpSp>
          <p:nvGrpSpPr>
            <p:cNvPr id="94" name="Group 93">
              <a:extLst>
                <a:ext uri="{FF2B5EF4-FFF2-40B4-BE49-F238E27FC236}">
                  <a16:creationId xmlns:a16="http://schemas.microsoft.com/office/drawing/2014/main" id="{7709B3AA-986E-D42D-C144-F056DAEF997D}"/>
                </a:ext>
              </a:extLst>
            </p:cNvPr>
            <p:cNvGrpSpPr/>
            <p:nvPr/>
          </p:nvGrpSpPr>
          <p:grpSpPr>
            <a:xfrm>
              <a:off x="6842907" y="2633200"/>
              <a:ext cx="340200" cy="184320"/>
              <a:chOff x="6842907" y="2633200"/>
              <a:chExt cx="340200" cy="184320"/>
            </a:xfrm>
          </p:grpSpPr>
          <mc:AlternateContent xmlns:mc="http://schemas.openxmlformats.org/markup-compatibility/2006" xmlns:p14="http://schemas.microsoft.com/office/powerpoint/2010/main">
            <mc:Choice Requires="p14">
              <p:contentPart p14:bwMode="auto" r:id="rId23">
                <p14:nvContentPartPr>
                  <p14:cNvPr id="99" name="Ink 98">
                    <a:extLst>
                      <a:ext uri="{FF2B5EF4-FFF2-40B4-BE49-F238E27FC236}">
                        <a16:creationId xmlns:a16="http://schemas.microsoft.com/office/drawing/2014/main" id="{CC339DB3-AF92-575A-39DD-1944E9C48578}"/>
                      </a:ext>
                    </a:extLst>
                  </p14:cNvPr>
                  <p14:cNvContentPartPr/>
                  <p14:nvPr/>
                </p14:nvContentPartPr>
                <p14:xfrm>
                  <a:off x="7073307" y="2633200"/>
                  <a:ext cx="109800" cy="182880"/>
                </p14:xfrm>
              </p:contentPart>
            </mc:Choice>
            <mc:Fallback xmlns="">
              <p:pic>
                <p:nvPicPr>
                  <p:cNvPr id="99" name="Ink 98">
                    <a:extLst>
                      <a:ext uri="{FF2B5EF4-FFF2-40B4-BE49-F238E27FC236}">
                        <a16:creationId xmlns:a16="http://schemas.microsoft.com/office/drawing/2014/main" id="{CC339DB3-AF92-575A-39DD-1944E9C48578}"/>
                      </a:ext>
                    </a:extLst>
                  </p:cNvPr>
                  <p:cNvPicPr/>
                  <p:nvPr/>
                </p:nvPicPr>
                <p:blipFill>
                  <a:blip r:embed="rId24"/>
                  <a:stretch>
                    <a:fillRect/>
                  </a:stretch>
                </p:blipFill>
                <p:spPr>
                  <a:xfrm>
                    <a:off x="7061676" y="2621040"/>
                    <a:ext cx="132597" cy="20671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98" name="Ink 97">
                    <a:extLst>
                      <a:ext uri="{FF2B5EF4-FFF2-40B4-BE49-F238E27FC236}">
                        <a16:creationId xmlns:a16="http://schemas.microsoft.com/office/drawing/2014/main" id="{D7218169-80FB-76A6-A39A-F9ECE12E2A11}"/>
                      </a:ext>
                    </a:extLst>
                  </p14:cNvPr>
                  <p14:cNvContentPartPr/>
                  <p14:nvPr/>
                </p14:nvContentPartPr>
                <p14:xfrm>
                  <a:off x="6842907" y="2801320"/>
                  <a:ext cx="231120" cy="16200"/>
                </p14:xfrm>
              </p:contentPart>
            </mc:Choice>
            <mc:Fallback xmlns="">
              <p:pic>
                <p:nvPicPr>
                  <p:cNvPr id="98" name="Ink 97">
                    <a:extLst>
                      <a:ext uri="{FF2B5EF4-FFF2-40B4-BE49-F238E27FC236}">
                        <a16:creationId xmlns:a16="http://schemas.microsoft.com/office/drawing/2014/main" id="{D7218169-80FB-76A6-A39A-F9ECE12E2A11}"/>
                      </a:ext>
                    </a:extLst>
                  </p:cNvPr>
                  <p:cNvPicPr/>
                  <p:nvPr/>
                </p:nvPicPr>
                <p:blipFill>
                  <a:blip r:embed="rId26"/>
                  <a:stretch>
                    <a:fillRect/>
                  </a:stretch>
                </p:blipFill>
                <p:spPr>
                  <a:xfrm>
                    <a:off x="6831258" y="2789408"/>
                    <a:ext cx="253952" cy="39547"/>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93" name="Ink 92">
                    <a:extLst>
                      <a:ext uri="{FF2B5EF4-FFF2-40B4-BE49-F238E27FC236}">
                        <a16:creationId xmlns:a16="http://schemas.microsoft.com/office/drawing/2014/main" id="{0BF645B8-D520-CD22-909E-DD255184CDEE}"/>
                      </a:ext>
                    </a:extLst>
                  </p14:cNvPr>
                  <p14:cNvContentPartPr/>
                  <p14:nvPr/>
                </p14:nvContentPartPr>
                <p14:xfrm>
                  <a:off x="6955587" y="2700160"/>
                  <a:ext cx="100800" cy="115200"/>
                </p14:xfrm>
              </p:contentPart>
            </mc:Choice>
            <mc:Fallback xmlns="">
              <p:pic>
                <p:nvPicPr>
                  <p:cNvPr id="93" name="Ink 92">
                    <a:extLst>
                      <a:ext uri="{FF2B5EF4-FFF2-40B4-BE49-F238E27FC236}">
                        <a16:creationId xmlns:a16="http://schemas.microsoft.com/office/drawing/2014/main" id="{0BF645B8-D520-CD22-909E-DD255184CDEE}"/>
                      </a:ext>
                    </a:extLst>
                  </p:cNvPr>
                  <p:cNvPicPr/>
                  <p:nvPr/>
                </p:nvPicPr>
                <p:blipFill>
                  <a:blip r:embed="rId28"/>
                  <a:stretch>
                    <a:fillRect/>
                  </a:stretch>
                </p:blipFill>
                <p:spPr>
                  <a:xfrm>
                    <a:off x="6943974" y="2688008"/>
                    <a:ext cx="123561" cy="139018"/>
                  </a:xfrm>
                  <a:prstGeom prst="rect">
                    <a:avLst/>
                  </a:prstGeom>
                </p:spPr>
              </p:pic>
            </mc:Fallback>
          </mc:AlternateContent>
        </p:grpSp>
      </p:grpSp>
      <p:sp>
        <p:nvSpPr>
          <p:cNvPr id="107" name="TextBox 106">
            <a:extLst>
              <a:ext uri="{FF2B5EF4-FFF2-40B4-BE49-F238E27FC236}">
                <a16:creationId xmlns:a16="http://schemas.microsoft.com/office/drawing/2014/main" id="{365BF89C-93AD-6837-AEF9-9B9DFDC31873}"/>
              </a:ext>
            </a:extLst>
          </p:cNvPr>
          <p:cNvSpPr txBox="1"/>
          <p:nvPr/>
        </p:nvSpPr>
        <p:spPr>
          <a:xfrm>
            <a:off x="4325543" y="3279750"/>
            <a:ext cx="1567526" cy="46166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Amylose (straight chain)</a:t>
            </a:r>
            <a:endParaRPr lang="en-GB" sz="700">
              <a:solidFill>
                <a:srgbClr val="000A1E"/>
              </a:solidFill>
              <a:latin typeface="Arial" panose="020B0604020202020204" pitchFamily="34" charset="0"/>
              <a:cs typeface="Arial" panose="020B0604020202020204" pitchFamily="34" charset="0"/>
            </a:endParaRPr>
          </a:p>
        </p:txBody>
      </p:sp>
      <p:sp>
        <p:nvSpPr>
          <p:cNvPr id="108" name="TextBox 107">
            <a:extLst>
              <a:ext uri="{FF2B5EF4-FFF2-40B4-BE49-F238E27FC236}">
                <a16:creationId xmlns:a16="http://schemas.microsoft.com/office/drawing/2014/main" id="{E7495B78-9790-6C35-3DC1-1F27F7A351BB}"/>
              </a:ext>
            </a:extLst>
          </p:cNvPr>
          <p:cNvSpPr txBox="1"/>
          <p:nvPr/>
        </p:nvSpPr>
        <p:spPr>
          <a:xfrm>
            <a:off x="6689620" y="3279365"/>
            <a:ext cx="1743256" cy="461665"/>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Amylopectin (branched chain)</a:t>
            </a:r>
            <a:endParaRPr lang="en-GB" sz="700">
              <a:solidFill>
                <a:srgbClr val="000A1E"/>
              </a:solidFill>
              <a:latin typeface="Arial" panose="020B0604020202020204" pitchFamily="34" charset="0"/>
              <a:cs typeface="Arial" panose="020B0604020202020204" pitchFamily="34" charset="0"/>
            </a:endParaRPr>
          </a:p>
        </p:txBody>
      </p:sp>
      <p:sp>
        <p:nvSpPr>
          <p:cNvPr id="109" name="Arrow: Down 108">
            <a:extLst>
              <a:ext uri="{FF2B5EF4-FFF2-40B4-BE49-F238E27FC236}">
                <a16:creationId xmlns:a16="http://schemas.microsoft.com/office/drawing/2014/main" id="{56EEDD70-E6E8-C2C3-2280-830F652C9C0C}"/>
              </a:ext>
            </a:extLst>
          </p:cNvPr>
          <p:cNvSpPr/>
          <p:nvPr/>
        </p:nvSpPr>
        <p:spPr>
          <a:xfrm>
            <a:off x="5689658" y="3973942"/>
            <a:ext cx="260975" cy="46166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39" name="Group 138">
            <a:extLst>
              <a:ext uri="{FF2B5EF4-FFF2-40B4-BE49-F238E27FC236}">
                <a16:creationId xmlns:a16="http://schemas.microsoft.com/office/drawing/2014/main" id="{9656E0ED-E4B1-48A7-A1E1-B5C584C397F2}"/>
              </a:ext>
            </a:extLst>
          </p:cNvPr>
          <p:cNvGrpSpPr/>
          <p:nvPr/>
        </p:nvGrpSpPr>
        <p:grpSpPr>
          <a:xfrm>
            <a:off x="4575067" y="4499410"/>
            <a:ext cx="1024920" cy="565200"/>
            <a:chOff x="5494502" y="4563797"/>
            <a:chExt cx="1024920" cy="565200"/>
          </a:xfrm>
        </p:grpSpPr>
        <p:grpSp>
          <p:nvGrpSpPr>
            <p:cNvPr id="113" name="Group 112">
              <a:extLst>
                <a:ext uri="{FF2B5EF4-FFF2-40B4-BE49-F238E27FC236}">
                  <a16:creationId xmlns:a16="http://schemas.microsoft.com/office/drawing/2014/main" id="{57FBC402-5561-650E-E32B-D78FBA92DAB2}"/>
                </a:ext>
              </a:extLst>
            </p:cNvPr>
            <p:cNvGrpSpPr/>
            <p:nvPr/>
          </p:nvGrpSpPr>
          <p:grpSpPr>
            <a:xfrm>
              <a:off x="5494502" y="4563797"/>
              <a:ext cx="691920" cy="262080"/>
              <a:chOff x="5434691" y="4737794"/>
              <a:chExt cx="691920" cy="262080"/>
            </a:xfrm>
          </p:grpSpPr>
          <mc:AlternateContent xmlns:mc="http://schemas.openxmlformats.org/markup-compatibility/2006" xmlns:p14="http://schemas.microsoft.com/office/powerpoint/2010/main">
            <mc:Choice Requires="p14">
              <p:contentPart p14:bwMode="auto" r:id="rId29">
                <p14:nvContentPartPr>
                  <p14:cNvPr id="110" name="Ink 109">
                    <a:extLst>
                      <a:ext uri="{FF2B5EF4-FFF2-40B4-BE49-F238E27FC236}">
                        <a16:creationId xmlns:a16="http://schemas.microsoft.com/office/drawing/2014/main" id="{C5E3AB13-C37A-A674-D5DE-25C1E5E1F53B}"/>
                      </a:ext>
                    </a:extLst>
                  </p14:cNvPr>
                  <p14:cNvContentPartPr/>
                  <p14:nvPr/>
                </p14:nvContentPartPr>
                <p14:xfrm>
                  <a:off x="5434691" y="4737794"/>
                  <a:ext cx="196200" cy="184320"/>
                </p14:xfrm>
              </p:contentPart>
            </mc:Choice>
            <mc:Fallback xmlns="">
              <p:pic>
                <p:nvPicPr>
                  <p:cNvPr id="110" name="Ink 109">
                    <a:extLst>
                      <a:ext uri="{FF2B5EF4-FFF2-40B4-BE49-F238E27FC236}">
                        <a16:creationId xmlns:a16="http://schemas.microsoft.com/office/drawing/2014/main" id="{C5E3AB13-C37A-A674-D5DE-25C1E5E1F53B}"/>
                      </a:ext>
                    </a:extLst>
                  </p:cNvPr>
                  <p:cNvPicPr/>
                  <p:nvPr/>
                </p:nvPicPr>
                <p:blipFill>
                  <a:blip r:embed="rId30"/>
                  <a:stretch>
                    <a:fillRect/>
                  </a:stretch>
                </p:blipFill>
                <p:spPr>
                  <a:xfrm>
                    <a:off x="5425691" y="4728794"/>
                    <a:ext cx="213840" cy="201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111" name="Ink 110">
                    <a:extLst>
                      <a:ext uri="{FF2B5EF4-FFF2-40B4-BE49-F238E27FC236}">
                        <a16:creationId xmlns:a16="http://schemas.microsoft.com/office/drawing/2014/main" id="{877BB031-48C5-82C9-DE0E-802F2EAEC275}"/>
                      </a:ext>
                    </a:extLst>
                  </p14:cNvPr>
                  <p14:cNvContentPartPr/>
                  <p14:nvPr/>
                </p14:nvContentPartPr>
                <p14:xfrm>
                  <a:off x="5835011" y="4874954"/>
                  <a:ext cx="291600" cy="124920"/>
                </p14:xfrm>
              </p:contentPart>
            </mc:Choice>
            <mc:Fallback xmlns="">
              <p:pic>
                <p:nvPicPr>
                  <p:cNvPr id="111" name="Ink 110">
                    <a:extLst>
                      <a:ext uri="{FF2B5EF4-FFF2-40B4-BE49-F238E27FC236}">
                        <a16:creationId xmlns:a16="http://schemas.microsoft.com/office/drawing/2014/main" id="{877BB031-48C5-82C9-DE0E-802F2EAEC275}"/>
                      </a:ext>
                    </a:extLst>
                  </p:cNvPr>
                  <p:cNvPicPr/>
                  <p:nvPr/>
                </p:nvPicPr>
                <p:blipFill>
                  <a:blip r:embed="rId32"/>
                  <a:stretch>
                    <a:fillRect/>
                  </a:stretch>
                </p:blipFill>
                <p:spPr>
                  <a:xfrm>
                    <a:off x="5826011" y="4865954"/>
                    <a:ext cx="309240" cy="142560"/>
                  </a:xfrm>
                  <a:prstGeom prst="rect">
                    <a:avLst/>
                  </a:prstGeom>
                </p:spPr>
              </p:pic>
            </mc:Fallback>
          </mc:AlternateContent>
        </p:grpSp>
        <p:grpSp>
          <p:nvGrpSpPr>
            <p:cNvPr id="115" name="Group 114">
              <a:extLst>
                <a:ext uri="{FF2B5EF4-FFF2-40B4-BE49-F238E27FC236}">
                  <a16:creationId xmlns:a16="http://schemas.microsoft.com/office/drawing/2014/main" id="{54FFC13C-29F5-F709-17F4-A09DCBDFC7FC}"/>
                </a:ext>
              </a:extLst>
            </p:cNvPr>
            <p:cNvGrpSpPr/>
            <p:nvPr/>
          </p:nvGrpSpPr>
          <p:grpSpPr>
            <a:xfrm>
              <a:off x="5705462" y="4995437"/>
              <a:ext cx="813960" cy="133560"/>
              <a:chOff x="5645651" y="5169434"/>
              <a:chExt cx="813960" cy="133560"/>
            </a:xfrm>
          </p:grpSpPr>
          <mc:AlternateContent xmlns:mc="http://schemas.openxmlformats.org/markup-compatibility/2006" xmlns:p14="http://schemas.microsoft.com/office/powerpoint/2010/main">
            <mc:Choice Requires="p14">
              <p:contentPart p14:bwMode="auto" r:id="rId33">
                <p14:nvContentPartPr>
                  <p14:cNvPr id="112" name="Ink 111">
                    <a:extLst>
                      <a:ext uri="{FF2B5EF4-FFF2-40B4-BE49-F238E27FC236}">
                        <a16:creationId xmlns:a16="http://schemas.microsoft.com/office/drawing/2014/main" id="{98250D8C-4638-EBDD-9050-D58C0E08B6CA}"/>
                      </a:ext>
                    </a:extLst>
                  </p14:cNvPr>
                  <p14:cNvContentPartPr/>
                  <p14:nvPr/>
                </p14:nvContentPartPr>
                <p14:xfrm>
                  <a:off x="5645651" y="5222714"/>
                  <a:ext cx="194760" cy="80280"/>
                </p14:xfrm>
              </p:contentPart>
            </mc:Choice>
            <mc:Fallback xmlns="">
              <p:pic>
                <p:nvPicPr>
                  <p:cNvPr id="112" name="Ink 111">
                    <a:extLst>
                      <a:ext uri="{FF2B5EF4-FFF2-40B4-BE49-F238E27FC236}">
                        <a16:creationId xmlns:a16="http://schemas.microsoft.com/office/drawing/2014/main" id="{98250D8C-4638-EBDD-9050-D58C0E08B6CA}"/>
                      </a:ext>
                    </a:extLst>
                  </p:cNvPr>
                  <p:cNvPicPr/>
                  <p:nvPr/>
                </p:nvPicPr>
                <p:blipFill>
                  <a:blip r:embed="rId34"/>
                  <a:stretch>
                    <a:fillRect/>
                  </a:stretch>
                </p:blipFill>
                <p:spPr>
                  <a:xfrm>
                    <a:off x="5636651" y="5213714"/>
                    <a:ext cx="21240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114" name="Ink 113">
                    <a:extLst>
                      <a:ext uri="{FF2B5EF4-FFF2-40B4-BE49-F238E27FC236}">
                        <a16:creationId xmlns:a16="http://schemas.microsoft.com/office/drawing/2014/main" id="{41C25A1D-291A-7722-30AA-96A30C125B92}"/>
                      </a:ext>
                    </a:extLst>
                  </p14:cNvPr>
                  <p14:cNvContentPartPr/>
                  <p14:nvPr/>
                </p14:nvContentPartPr>
                <p14:xfrm>
                  <a:off x="6204731" y="5169434"/>
                  <a:ext cx="254880" cy="61920"/>
                </p14:xfrm>
              </p:contentPart>
            </mc:Choice>
            <mc:Fallback xmlns="">
              <p:pic>
                <p:nvPicPr>
                  <p:cNvPr id="114" name="Ink 113">
                    <a:extLst>
                      <a:ext uri="{FF2B5EF4-FFF2-40B4-BE49-F238E27FC236}">
                        <a16:creationId xmlns:a16="http://schemas.microsoft.com/office/drawing/2014/main" id="{41C25A1D-291A-7722-30AA-96A30C125B92}"/>
                      </a:ext>
                    </a:extLst>
                  </p:cNvPr>
                  <p:cNvPicPr/>
                  <p:nvPr/>
                </p:nvPicPr>
                <p:blipFill>
                  <a:blip r:embed="rId36"/>
                  <a:stretch>
                    <a:fillRect/>
                  </a:stretch>
                </p:blipFill>
                <p:spPr>
                  <a:xfrm>
                    <a:off x="6195718" y="5160434"/>
                    <a:ext cx="272545" cy="79560"/>
                  </a:xfrm>
                  <a:prstGeom prst="rect">
                    <a:avLst/>
                  </a:prstGeom>
                </p:spPr>
              </p:pic>
            </mc:Fallback>
          </mc:AlternateContent>
        </p:grpSp>
      </p:grpSp>
      <p:grpSp>
        <p:nvGrpSpPr>
          <p:cNvPr id="140" name="Group 139">
            <a:extLst>
              <a:ext uri="{FF2B5EF4-FFF2-40B4-BE49-F238E27FC236}">
                <a16:creationId xmlns:a16="http://schemas.microsoft.com/office/drawing/2014/main" id="{2FD233F6-BD1D-8A39-48C2-18F6B49520F3}"/>
              </a:ext>
            </a:extLst>
          </p:cNvPr>
          <p:cNvGrpSpPr/>
          <p:nvPr/>
        </p:nvGrpSpPr>
        <p:grpSpPr>
          <a:xfrm>
            <a:off x="6620831" y="4408900"/>
            <a:ext cx="1003320" cy="801360"/>
            <a:chOff x="7891686" y="4619040"/>
            <a:chExt cx="1003320" cy="801360"/>
          </a:xfrm>
        </p:grpSpPr>
        <mc:AlternateContent xmlns:mc="http://schemas.openxmlformats.org/markup-compatibility/2006" xmlns:p14="http://schemas.microsoft.com/office/powerpoint/2010/main">
          <mc:Choice Requires="p14">
            <p:contentPart p14:bwMode="auto" r:id="rId37">
              <p14:nvContentPartPr>
                <p14:cNvPr id="116" name="Ink 115">
                  <a:extLst>
                    <a:ext uri="{FF2B5EF4-FFF2-40B4-BE49-F238E27FC236}">
                      <a16:creationId xmlns:a16="http://schemas.microsoft.com/office/drawing/2014/main" id="{447F03AE-F181-47A8-676D-89EBCAA7481A}"/>
                    </a:ext>
                  </a:extLst>
                </p14:cNvPr>
                <p14:cNvContentPartPr/>
                <p14:nvPr/>
              </p14:nvContentPartPr>
              <p14:xfrm>
                <a:off x="8058726" y="4619040"/>
                <a:ext cx="225360" cy="304200"/>
              </p14:xfrm>
            </p:contentPart>
          </mc:Choice>
          <mc:Fallback xmlns="">
            <p:pic>
              <p:nvPicPr>
                <p:cNvPr id="116" name="Ink 115">
                  <a:extLst>
                    <a:ext uri="{FF2B5EF4-FFF2-40B4-BE49-F238E27FC236}">
                      <a16:creationId xmlns:a16="http://schemas.microsoft.com/office/drawing/2014/main" id="{447F03AE-F181-47A8-676D-89EBCAA7481A}"/>
                    </a:ext>
                  </a:extLst>
                </p:cNvPr>
                <p:cNvPicPr/>
                <p:nvPr/>
              </p:nvPicPr>
              <p:blipFill>
                <a:blip r:embed="rId38"/>
                <a:stretch>
                  <a:fillRect/>
                </a:stretch>
              </p:blipFill>
              <p:spPr>
                <a:xfrm>
                  <a:off x="8049726" y="4610040"/>
                  <a:ext cx="243000" cy="32184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117" name="Ink 116">
                  <a:extLst>
                    <a:ext uri="{FF2B5EF4-FFF2-40B4-BE49-F238E27FC236}">
                      <a16:creationId xmlns:a16="http://schemas.microsoft.com/office/drawing/2014/main" id="{B0EEEBDB-E149-6EAF-811A-4A456DFB99ED}"/>
                    </a:ext>
                  </a:extLst>
                </p14:cNvPr>
                <p14:cNvContentPartPr/>
                <p14:nvPr/>
              </p14:nvContentPartPr>
              <p14:xfrm>
                <a:off x="7891686" y="4792560"/>
                <a:ext cx="177840" cy="69120"/>
              </p14:xfrm>
            </p:contentPart>
          </mc:Choice>
          <mc:Fallback xmlns="">
            <p:pic>
              <p:nvPicPr>
                <p:cNvPr id="117" name="Ink 116">
                  <a:extLst>
                    <a:ext uri="{FF2B5EF4-FFF2-40B4-BE49-F238E27FC236}">
                      <a16:creationId xmlns:a16="http://schemas.microsoft.com/office/drawing/2014/main" id="{B0EEEBDB-E149-6EAF-811A-4A456DFB99ED}"/>
                    </a:ext>
                  </a:extLst>
                </p:cNvPr>
                <p:cNvPicPr/>
                <p:nvPr/>
              </p:nvPicPr>
              <p:blipFill>
                <a:blip r:embed="rId40"/>
                <a:stretch>
                  <a:fillRect/>
                </a:stretch>
              </p:blipFill>
              <p:spPr>
                <a:xfrm>
                  <a:off x="7882686" y="4783560"/>
                  <a:ext cx="195480" cy="8676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130" name="Ink 129">
                  <a:extLst>
                    <a:ext uri="{FF2B5EF4-FFF2-40B4-BE49-F238E27FC236}">
                      <a16:creationId xmlns:a16="http://schemas.microsoft.com/office/drawing/2014/main" id="{FD84AB9C-86C4-E893-51E5-4FA136FD5484}"/>
                    </a:ext>
                  </a:extLst>
                </p14:cNvPr>
                <p14:cNvContentPartPr/>
                <p14:nvPr/>
              </p14:nvContentPartPr>
              <p14:xfrm>
                <a:off x="8033166" y="4807320"/>
                <a:ext cx="360" cy="104040"/>
              </p14:xfrm>
            </p:contentPart>
          </mc:Choice>
          <mc:Fallback xmlns="">
            <p:pic>
              <p:nvPicPr>
                <p:cNvPr id="130" name="Ink 129">
                  <a:extLst>
                    <a:ext uri="{FF2B5EF4-FFF2-40B4-BE49-F238E27FC236}">
                      <a16:creationId xmlns:a16="http://schemas.microsoft.com/office/drawing/2014/main" id="{FD84AB9C-86C4-E893-51E5-4FA136FD5484}"/>
                    </a:ext>
                  </a:extLst>
                </p:cNvPr>
                <p:cNvPicPr/>
                <p:nvPr/>
              </p:nvPicPr>
              <p:blipFill>
                <a:blip r:embed="rId42"/>
                <a:stretch>
                  <a:fillRect/>
                </a:stretch>
              </p:blipFill>
              <p:spPr>
                <a:xfrm>
                  <a:off x="8024166" y="4798320"/>
                  <a:ext cx="18000" cy="121680"/>
                </a:xfrm>
                <a:prstGeom prst="rect">
                  <a:avLst/>
                </a:prstGeom>
              </p:spPr>
            </p:pic>
          </mc:Fallback>
        </mc:AlternateContent>
        <p:grpSp>
          <p:nvGrpSpPr>
            <p:cNvPr id="125" name="Group 124">
              <a:extLst>
                <a:ext uri="{FF2B5EF4-FFF2-40B4-BE49-F238E27FC236}">
                  <a16:creationId xmlns:a16="http://schemas.microsoft.com/office/drawing/2014/main" id="{A3A052F8-E341-DEC6-C5AB-DDBFAD2DF1FF}"/>
                </a:ext>
              </a:extLst>
            </p:cNvPr>
            <p:cNvGrpSpPr/>
            <p:nvPr/>
          </p:nvGrpSpPr>
          <p:grpSpPr>
            <a:xfrm>
              <a:off x="8380926" y="4824240"/>
              <a:ext cx="514080" cy="513000"/>
              <a:chOff x="7686131" y="5010674"/>
              <a:chExt cx="514080" cy="513000"/>
            </a:xfrm>
          </p:grpSpPr>
          <mc:AlternateContent xmlns:mc="http://schemas.openxmlformats.org/markup-compatibility/2006" xmlns:p14="http://schemas.microsoft.com/office/powerpoint/2010/main">
            <mc:Choice Requires="p14">
              <p:contentPart p14:bwMode="auto" r:id="rId43">
                <p14:nvContentPartPr>
                  <p14:cNvPr id="137" name="Ink 136">
                    <a:extLst>
                      <a:ext uri="{FF2B5EF4-FFF2-40B4-BE49-F238E27FC236}">
                        <a16:creationId xmlns:a16="http://schemas.microsoft.com/office/drawing/2014/main" id="{C11931B2-AB60-B82A-3FB5-8BC5CE59D73A}"/>
                      </a:ext>
                    </a:extLst>
                  </p14:cNvPr>
                  <p14:cNvContentPartPr/>
                  <p14:nvPr/>
                </p14:nvContentPartPr>
                <p14:xfrm>
                  <a:off x="7686131" y="5010674"/>
                  <a:ext cx="376200" cy="361800"/>
                </p14:xfrm>
              </p:contentPart>
            </mc:Choice>
            <mc:Fallback xmlns="">
              <p:pic>
                <p:nvPicPr>
                  <p:cNvPr id="137" name="Ink 136">
                    <a:extLst>
                      <a:ext uri="{FF2B5EF4-FFF2-40B4-BE49-F238E27FC236}">
                        <a16:creationId xmlns:a16="http://schemas.microsoft.com/office/drawing/2014/main" id="{C11931B2-AB60-B82A-3FB5-8BC5CE59D73A}"/>
                      </a:ext>
                    </a:extLst>
                  </p:cNvPr>
                  <p:cNvPicPr/>
                  <p:nvPr/>
                </p:nvPicPr>
                <p:blipFill>
                  <a:blip r:embed="rId44"/>
                  <a:stretch>
                    <a:fillRect/>
                  </a:stretch>
                </p:blipFill>
                <p:spPr>
                  <a:xfrm>
                    <a:off x="7677131" y="5001674"/>
                    <a:ext cx="393840" cy="37944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122" name="Ink 121">
                    <a:extLst>
                      <a:ext uri="{FF2B5EF4-FFF2-40B4-BE49-F238E27FC236}">
                        <a16:creationId xmlns:a16="http://schemas.microsoft.com/office/drawing/2014/main" id="{C4223492-6E6E-4BC5-9980-979480034861}"/>
                      </a:ext>
                    </a:extLst>
                  </p14:cNvPr>
                  <p14:cNvContentPartPr/>
                  <p14:nvPr/>
                </p14:nvContentPartPr>
                <p14:xfrm>
                  <a:off x="8044331" y="5263394"/>
                  <a:ext cx="155880" cy="69480"/>
                </p14:xfrm>
              </p:contentPart>
            </mc:Choice>
            <mc:Fallback xmlns="">
              <p:pic>
                <p:nvPicPr>
                  <p:cNvPr id="122" name="Ink 121">
                    <a:extLst>
                      <a:ext uri="{FF2B5EF4-FFF2-40B4-BE49-F238E27FC236}">
                        <a16:creationId xmlns:a16="http://schemas.microsoft.com/office/drawing/2014/main" id="{C4223492-6E6E-4BC5-9980-979480034861}"/>
                      </a:ext>
                    </a:extLst>
                  </p:cNvPr>
                  <p:cNvPicPr/>
                  <p:nvPr/>
                </p:nvPicPr>
                <p:blipFill>
                  <a:blip r:embed="rId46"/>
                  <a:stretch>
                    <a:fillRect/>
                  </a:stretch>
                </p:blipFill>
                <p:spPr>
                  <a:xfrm>
                    <a:off x="8035331" y="5254394"/>
                    <a:ext cx="17352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124" name="Ink 123">
                    <a:extLst>
                      <a:ext uri="{FF2B5EF4-FFF2-40B4-BE49-F238E27FC236}">
                        <a16:creationId xmlns:a16="http://schemas.microsoft.com/office/drawing/2014/main" id="{7CB1A32E-4401-65F5-B62D-8E828E6766FA}"/>
                      </a:ext>
                    </a:extLst>
                  </p14:cNvPr>
                  <p14:cNvContentPartPr/>
                  <p14:nvPr/>
                </p14:nvContentPartPr>
                <p14:xfrm>
                  <a:off x="8052611" y="5330714"/>
                  <a:ext cx="15840" cy="192960"/>
                </p14:xfrm>
              </p:contentPart>
            </mc:Choice>
            <mc:Fallback xmlns="">
              <p:pic>
                <p:nvPicPr>
                  <p:cNvPr id="124" name="Ink 123">
                    <a:extLst>
                      <a:ext uri="{FF2B5EF4-FFF2-40B4-BE49-F238E27FC236}">
                        <a16:creationId xmlns:a16="http://schemas.microsoft.com/office/drawing/2014/main" id="{7CB1A32E-4401-65F5-B62D-8E828E6766FA}"/>
                      </a:ext>
                    </a:extLst>
                  </p:cNvPr>
                  <p:cNvPicPr/>
                  <p:nvPr/>
                </p:nvPicPr>
                <p:blipFill>
                  <a:blip r:embed="rId48"/>
                  <a:stretch>
                    <a:fillRect/>
                  </a:stretch>
                </p:blipFill>
                <p:spPr>
                  <a:xfrm>
                    <a:off x="8043611" y="5321714"/>
                    <a:ext cx="33480" cy="210600"/>
                  </a:xfrm>
                  <a:prstGeom prst="rect">
                    <a:avLst/>
                  </a:prstGeom>
                </p:spPr>
              </p:pic>
            </mc:Fallback>
          </mc:AlternateContent>
        </p:grpSp>
        <p:grpSp>
          <p:nvGrpSpPr>
            <p:cNvPr id="129" name="Group 128">
              <a:extLst>
                <a:ext uri="{FF2B5EF4-FFF2-40B4-BE49-F238E27FC236}">
                  <a16:creationId xmlns:a16="http://schemas.microsoft.com/office/drawing/2014/main" id="{0C2B7C11-1DC0-7C40-3A38-27563B7A87BD}"/>
                </a:ext>
              </a:extLst>
            </p:cNvPr>
            <p:cNvGrpSpPr/>
            <p:nvPr/>
          </p:nvGrpSpPr>
          <p:grpSpPr>
            <a:xfrm>
              <a:off x="7950006" y="5098560"/>
              <a:ext cx="466560" cy="321840"/>
              <a:chOff x="7255211" y="5284994"/>
              <a:chExt cx="466560" cy="321840"/>
            </a:xfrm>
          </p:grpSpPr>
          <mc:AlternateContent xmlns:mc="http://schemas.openxmlformats.org/markup-compatibility/2006" xmlns:p14="http://schemas.microsoft.com/office/powerpoint/2010/main">
            <mc:Choice Requires="p14">
              <p:contentPart p14:bwMode="auto" r:id="rId49">
                <p14:nvContentPartPr>
                  <p14:cNvPr id="126" name="Ink 125">
                    <a:extLst>
                      <a:ext uri="{FF2B5EF4-FFF2-40B4-BE49-F238E27FC236}">
                        <a16:creationId xmlns:a16="http://schemas.microsoft.com/office/drawing/2014/main" id="{49C21B91-E7F4-F2A2-AE6D-E91729151FD1}"/>
                      </a:ext>
                    </a:extLst>
                  </p14:cNvPr>
                  <p14:cNvContentPartPr/>
                  <p14:nvPr/>
                </p14:nvContentPartPr>
                <p14:xfrm>
                  <a:off x="7471571" y="5284994"/>
                  <a:ext cx="250200" cy="151920"/>
                </p14:xfrm>
              </p:contentPart>
            </mc:Choice>
            <mc:Fallback xmlns="">
              <p:pic>
                <p:nvPicPr>
                  <p:cNvPr id="126" name="Ink 125">
                    <a:extLst>
                      <a:ext uri="{FF2B5EF4-FFF2-40B4-BE49-F238E27FC236}">
                        <a16:creationId xmlns:a16="http://schemas.microsoft.com/office/drawing/2014/main" id="{49C21B91-E7F4-F2A2-AE6D-E91729151FD1}"/>
                      </a:ext>
                    </a:extLst>
                  </p:cNvPr>
                  <p:cNvPicPr/>
                  <p:nvPr/>
                </p:nvPicPr>
                <p:blipFill>
                  <a:blip r:embed="rId50"/>
                  <a:stretch>
                    <a:fillRect/>
                  </a:stretch>
                </p:blipFill>
                <p:spPr>
                  <a:xfrm>
                    <a:off x="7462571" y="5275994"/>
                    <a:ext cx="267840" cy="16956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127" name="Ink 126">
                    <a:extLst>
                      <a:ext uri="{FF2B5EF4-FFF2-40B4-BE49-F238E27FC236}">
                        <a16:creationId xmlns:a16="http://schemas.microsoft.com/office/drawing/2014/main" id="{BE5AD8FD-C5F6-18DB-B6AF-E6B6DF0B8B92}"/>
                      </a:ext>
                    </a:extLst>
                  </p14:cNvPr>
                  <p14:cNvContentPartPr/>
                  <p14:nvPr/>
                </p14:nvContentPartPr>
                <p14:xfrm>
                  <a:off x="7469771" y="5441594"/>
                  <a:ext cx="87480" cy="165240"/>
                </p14:xfrm>
              </p:contentPart>
            </mc:Choice>
            <mc:Fallback xmlns="">
              <p:pic>
                <p:nvPicPr>
                  <p:cNvPr id="127" name="Ink 126">
                    <a:extLst>
                      <a:ext uri="{FF2B5EF4-FFF2-40B4-BE49-F238E27FC236}">
                        <a16:creationId xmlns:a16="http://schemas.microsoft.com/office/drawing/2014/main" id="{BE5AD8FD-C5F6-18DB-B6AF-E6B6DF0B8B92}"/>
                      </a:ext>
                    </a:extLst>
                  </p:cNvPr>
                  <p:cNvPicPr/>
                  <p:nvPr/>
                </p:nvPicPr>
                <p:blipFill>
                  <a:blip r:embed="rId52"/>
                  <a:stretch>
                    <a:fillRect/>
                  </a:stretch>
                </p:blipFill>
                <p:spPr>
                  <a:xfrm>
                    <a:off x="7460771" y="5432614"/>
                    <a:ext cx="105120" cy="182842"/>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128" name="Ink 127">
                    <a:extLst>
                      <a:ext uri="{FF2B5EF4-FFF2-40B4-BE49-F238E27FC236}">
                        <a16:creationId xmlns:a16="http://schemas.microsoft.com/office/drawing/2014/main" id="{132C7873-A802-C07C-8354-0AF83B9E0804}"/>
                      </a:ext>
                    </a:extLst>
                  </p14:cNvPr>
                  <p14:cNvContentPartPr/>
                  <p14:nvPr/>
                </p14:nvContentPartPr>
                <p14:xfrm>
                  <a:off x="7255211" y="5459954"/>
                  <a:ext cx="201600" cy="12240"/>
                </p14:xfrm>
              </p:contentPart>
            </mc:Choice>
            <mc:Fallback xmlns="">
              <p:pic>
                <p:nvPicPr>
                  <p:cNvPr id="128" name="Ink 127">
                    <a:extLst>
                      <a:ext uri="{FF2B5EF4-FFF2-40B4-BE49-F238E27FC236}">
                        <a16:creationId xmlns:a16="http://schemas.microsoft.com/office/drawing/2014/main" id="{132C7873-A802-C07C-8354-0AF83B9E0804}"/>
                      </a:ext>
                    </a:extLst>
                  </p:cNvPr>
                  <p:cNvPicPr/>
                  <p:nvPr/>
                </p:nvPicPr>
                <p:blipFill>
                  <a:blip r:embed="rId54"/>
                  <a:stretch>
                    <a:fillRect/>
                  </a:stretch>
                </p:blipFill>
                <p:spPr>
                  <a:xfrm>
                    <a:off x="7246211" y="5450954"/>
                    <a:ext cx="219240" cy="29880"/>
                  </a:xfrm>
                  <a:prstGeom prst="rect">
                    <a:avLst/>
                  </a:prstGeom>
                </p:spPr>
              </p:pic>
            </mc:Fallback>
          </mc:AlternateContent>
        </p:grpSp>
      </p:grpSp>
      <p:sp>
        <p:nvSpPr>
          <p:cNvPr id="138" name="Arrow: Down 137">
            <a:extLst>
              <a:ext uri="{FF2B5EF4-FFF2-40B4-BE49-F238E27FC236}">
                <a16:creationId xmlns:a16="http://schemas.microsoft.com/office/drawing/2014/main" id="{123EEB2C-39B1-F9B2-9A0D-78D95C8E89BD}"/>
              </a:ext>
            </a:extLst>
          </p:cNvPr>
          <p:cNvSpPr/>
          <p:nvPr/>
        </p:nvSpPr>
        <p:spPr>
          <a:xfrm>
            <a:off x="5720095" y="5224955"/>
            <a:ext cx="260975" cy="46166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TextBox 140">
            <a:extLst>
              <a:ext uri="{FF2B5EF4-FFF2-40B4-BE49-F238E27FC236}">
                <a16:creationId xmlns:a16="http://schemas.microsoft.com/office/drawing/2014/main" id="{0BFAAA24-E39B-106F-B4D3-DDA4E00C4DA8}"/>
              </a:ext>
            </a:extLst>
          </p:cNvPr>
          <p:cNvSpPr txBox="1"/>
          <p:nvPr/>
        </p:nvSpPr>
        <p:spPr>
          <a:xfrm>
            <a:off x="5544022" y="4091313"/>
            <a:ext cx="1567526" cy="246221"/>
          </a:xfrm>
          <a:prstGeom prst="rect">
            <a:avLst/>
          </a:prstGeom>
          <a:noFill/>
        </p:spPr>
        <p:txBody>
          <a:bodyPr wrap="square" rtlCol="0">
            <a:spAutoFit/>
          </a:bodyPr>
          <a:lstStyle/>
          <a:p>
            <a:pPr algn="ctr"/>
            <a:r>
              <a:rPr lang="en-GB" sz="1000">
                <a:solidFill>
                  <a:srgbClr val="000A1E"/>
                </a:solidFill>
                <a:latin typeface="Arial Black" panose="020B0A04020102020204" pitchFamily="34" charset="0"/>
              </a:rPr>
              <a:t>Breakdown</a:t>
            </a:r>
            <a:endParaRPr lang="en-GB" sz="400">
              <a:solidFill>
                <a:srgbClr val="000A1E"/>
              </a:solidFill>
              <a:latin typeface="Arial" panose="020B0604020202020204" pitchFamily="34" charset="0"/>
              <a:cs typeface="Arial" panose="020B0604020202020204" pitchFamily="34" charset="0"/>
            </a:endParaRPr>
          </a:p>
        </p:txBody>
      </p:sp>
      <p:sp>
        <p:nvSpPr>
          <p:cNvPr id="142" name="TextBox 141">
            <a:extLst>
              <a:ext uri="{FF2B5EF4-FFF2-40B4-BE49-F238E27FC236}">
                <a16:creationId xmlns:a16="http://schemas.microsoft.com/office/drawing/2014/main" id="{6DBB383E-5BB7-46DA-77E0-23FB05381A1A}"/>
              </a:ext>
            </a:extLst>
          </p:cNvPr>
          <p:cNvSpPr txBox="1"/>
          <p:nvPr/>
        </p:nvSpPr>
        <p:spPr>
          <a:xfrm>
            <a:off x="5897197" y="5197238"/>
            <a:ext cx="1567526" cy="400110"/>
          </a:xfrm>
          <a:prstGeom prst="rect">
            <a:avLst/>
          </a:prstGeom>
          <a:noFill/>
        </p:spPr>
        <p:txBody>
          <a:bodyPr wrap="square" rtlCol="0">
            <a:spAutoFit/>
          </a:bodyPr>
          <a:lstStyle/>
          <a:p>
            <a:r>
              <a:rPr lang="en-GB" sz="1000">
                <a:solidFill>
                  <a:srgbClr val="000A1E"/>
                </a:solidFill>
                <a:latin typeface="Arial Black" panose="020B0A04020102020204" pitchFamily="34" charset="0"/>
              </a:rPr>
              <a:t>Partial recombination</a:t>
            </a:r>
            <a:endParaRPr lang="en-GB" sz="400">
              <a:solidFill>
                <a:srgbClr val="000A1E"/>
              </a:solidFill>
              <a:latin typeface="Arial" panose="020B0604020202020204" pitchFamily="34" charset="0"/>
              <a:cs typeface="Arial" panose="020B0604020202020204" pitchFamily="34" charset="0"/>
            </a:endParaRPr>
          </a:p>
        </p:txBody>
      </p:sp>
      <p:grpSp>
        <p:nvGrpSpPr>
          <p:cNvPr id="143" name="Group 142">
            <a:extLst>
              <a:ext uri="{FF2B5EF4-FFF2-40B4-BE49-F238E27FC236}">
                <a16:creationId xmlns:a16="http://schemas.microsoft.com/office/drawing/2014/main" id="{84DF9479-775C-1D8A-3077-6E0810B570AD}"/>
              </a:ext>
            </a:extLst>
          </p:cNvPr>
          <p:cNvGrpSpPr/>
          <p:nvPr/>
        </p:nvGrpSpPr>
        <p:grpSpPr>
          <a:xfrm>
            <a:off x="4899867" y="6060398"/>
            <a:ext cx="929263" cy="308657"/>
            <a:chOff x="5494502" y="4517220"/>
            <a:chExt cx="929263" cy="308657"/>
          </a:xfrm>
        </p:grpSpPr>
        <p:grpSp>
          <p:nvGrpSpPr>
            <p:cNvPr id="144" name="Group 143">
              <a:extLst>
                <a:ext uri="{FF2B5EF4-FFF2-40B4-BE49-F238E27FC236}">
                  <a16:creationId xmlns:a16="http://schemas.microsoft.com/office/drawing/2014/main" id="{A7B8C442-43DB-BF0D-93CB-1E66B5E28B66}"/>
                </a:ext>
              </a:extLst>
            </p:cNvPr>
            <p:cNvGrpSpPr/>
            <p:nvPr/>
          </p:nvGrpSpPr>
          <p:grpSpPr>
            <a:xfrm>
              <a:off x="5494502" y="4563797"/>
              <a:ext cx="691920" cy="262080"/>
              <a:chOff x="5434691" y="4737794"/>
              <a:chExt cx="691920" cy="262080"/>
            </a:xfrm>
          </p:grpSpPr>
          <mc:AlternateContent xmlns:mc="http://schemas.openxmlformats.org/markup-compatibility/2006" xmlns:p14="http://schemas.microsoft.com/office/powerpoint/2010/main">
            <mc:Choice Requires="p14">
              <p:contentPart p14:bwMode="auto" r:id="rId55">
                <p14:nvContentPartPr>
                  <p14:cNvPr id="148" name="Ink 147">
                    <a:extLst>
                      <a:ext uri="{FF2B5EF4-FFF2-40B4-BE49-F238E27FC236}">
                        <a16:creationId xmlns:a16="http://schemas.microsoft.com/office/drawing/2014/main" id="{C2D46166-82EF-B7E3-FF0E-215815EF06C5}"/>
                      </a:ext>
                    </a:extLst>
                  </p14:cNvPr>
                  <p14:cNvContentPartPr/>
                  <p14:nvPr/>
                </p14:nvContentPartPr>
                <p14:xfrm>
                  <a:off x="5434691" y="4737794"/>
                  <a:ext cx="196200" cy="184320"/>
                </p14:xfrm>
              </p:contentPart>
            </mc:Choice>
            <mc:Fallback xmlns="">
              <p:pic>
                <p:nvPicPr>
                  <p:cNvPr id="148" name="Ink 147">
                    <a:extLst>
                      <a:ext uri="{FF2B5EF4-FFF2-40B4-BE49-F238E27FC236}">
                        <a16:creationId xmlns:a16="http://schemas.microsoft.com/office/drawing/2014/main" id="{C2D46166-82EF-B7E3-FF0E-215815EF06C5}"/>
                      </a:ext>
                    </a:extLst>
                  </p:cNvPr>
                  <p:cNvPicPr/>
                  <p:nvPr/>
                </p:nvPicPr>
                <p:blipFill>
                  <a:blip r:embed="rId30"/>
                  <a:stretch>
                    <a:fillRect/>
                  </a:stretch>
                </p:blipFill>
                <p:spPr>
                  <a:xfrm>
                    <a:off x="5425691" y="4728794"/>
                    <a:ext cx="213840" cy="20196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149" name="Ink 148">
                    <a:extLst>
                      <a:ext uri="{FF2B5EF4-FFF2-40B4-BE49-F238E27FC236}">
                        <a16:creationId xmlns:a16="http://schemas.microsoft.com/office/drawing/2014/main" id="{815F1EF2-24A8-4269-6DE3-E2D52522D7D6}"/>
                      </a:ext>
                    </a:extLst>
                  </p14:cNvPr>
                  <p14:cNvContentPartPr/>
                  <p14:nvPr/>
                </p14:nvContentPartPr>
                <p14:xfrm>
                  <a:off x="5835011" y="4874954"/>
                  <a:ext cx="291600" cy="124920"/>
                </p14:xfrm>
              </p:contentPart>
            </mc:Choice>
            <mc:Fallback xmlns="">
              <p:pic>
                <p:nvPicPr>
                  <p:cNvPr id="149" name="Ink 148">
                    <a:extLst>
                      <a:ext uri="{FF2B5EF4-FFF2-40B4-BE49-F238E27FC236}">
                        <a16:creationId xmlns:a16="http://schemas.microsoft.com/office/drawing/2014/main" id="{815F1EF2-24A8-4269-6DE3-E2D52522D7D6}"/>
                      </a:ext>
                    </a:extLst>
                  </p:cNvPr>
                  <p:cNvPicPr/>
                  <p:nvPr/>
                </p:nvPicPr>
                <p:blipFill>
                  <a:blip r:embed="rId32"/>
                  <a:stretch>
                    <a:fillRect/>
                  </a:stretch>
                </p:blipFill>
                <p:spPr>
                  <a:xfrm>
                    <a:off x="5826011" y="4865954"/>
                    <a:ext cx="309240" cy="142560"/>
                  </a:xfrm>
                  <a:prstGeom prst="rect">
                    <a:avLst/>
                  </a:prstGeom>
                </p:spPr>
              </p:pic>
            </mc:Fallback>
          </mc:AlternateContent>
        </p:grpSp>
        <p:grpSp>
          <p:nvGrpSpPr>
            <p:cNvPr id="145" name="Group 144">
              <a:extLst>
                <a:ext uri="{FF2B5EF4-FFF2-40B4-BE49-F238E27FC236}">
                  <a16:creationId xmlns:a16="http://schemas.microsoft.com/office/drawing/2014/main" id="{23052630-44BA-BCE2-D0D9-2DE4A638971A}"/>
                </a:ext>
              </a:extLst>
            </p:cNvPr>
            <p:cNvGrpSpPr/>
            <p:nvPr/>
          </p:nvGrpSpPr>
          <p:grpSpPr>
            <a:xfrm>
              <a:off x="5663919" y="4517220"/>
              <a:ext cx="759846" cy="288323"/>
              <a:chOff x="5604108" y="4691217"/>
              <a:chExt cx="759846" cy="288323"/>
            </a:xfrm>
          </p:grpSpPr>
          <mc:AlternateContent xmlns:mc="http://schemas.openxmlformats.org/markup-compatibility/2006" xmlns:p14="http://schemas.microsoft.com/office/powerpoint/2010/main">
            <mc:Choice Requires="p14">
              <p:contentPart p14:bwMode="auto" r:id="rId57">
                <p14:nvContentPartPr>
                  <p14:cNvPr id="146" name="Ink 145">
                    <a:extLst>
                      <a:ext uri="{FF2B5EF4-FFF2-40B4-BE49-F238E27FC236}">
                        <a16:creationId xmlns:a16="http://schemas.microsoft.com/office/drawing/2014/main" id="{BA9CB0DD-A2BB-D3A3-1B82-AD9283BDA1A2}"/>
                      </a:ext>
                    </a:extLst>
                  </p14:cNvPr>
                  <p14:cNvContentPartPr/>
                  <p14:nvPr/>
                </p14:nvContentPartPr>
                <p14:xfrm>
                  <a:off x="5604108" y="4691217"/>
                  <a:ext cx="194760" cy="80280"/>
                </p14:xfrm>
              </p:contentPart>
            </mc:Choice>
            <mc:Fallback xmlns="">
              <p:pic>
                <p:nvPicPr>
                  <p:cNvPr id="146" name="Ink 145">
                    <a:extLst>
                      <a:ext uri="{FF2B5EF4-FFF2-40B4-BE49-F238E27FC236}">
                        <a16:creationId xmlns:a16="http://schemas.microsoft.com/office/drawing/2014/main" id="{BA9CB0DD-A2BB-D3A3-1B82-AD9283BDA1A2}"/>
                      </a:ext>
                    </a:extLst>
                  </p:cNvPr>
                  <p:cNvPicPr/>
                  <p:nvPr/>
                </p:nvPicPr>
                <p:blipFill>
                  <a:blip r:embed="rId34"/>
                  <a:stretch>
                    <a:fillRect/>
                  </a:stretch>
                </p:blipFill>
                <p:spPr>
                  <a:xfrm>
                    <a:off x="5595108" y="4682217"/>
                    <a:ext cx="21240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47" name="Ink 146">
                    <a:extLst>
                      <a:ext uri="{FF2B5EF4-FFF2-40B4-BE49-F238E27FC236}">
                        <a16:creationId xmlns:a16="http://schemas.microsoft.com/office/drawing/2014/main" id="{95CA2B61-5EC6-1437-AA5E-4542DB68CF41}"/>
                      </a:ext>
                    </a:extLst>
                  </p14:cNvPr>
                  <p14:cNvContentPartPr/>
                  <p14:nvPr/>
                </p14:nvContentPartPr>
                <p14:xfrm>
                  <a:off x="6109074" y="4917620"/>
                  <a:ext cx="254880" cy="61920"/>
                </p14:xfrm>
              </p:contentPart>
            </mc:Choice>
            <mc:Fallback xmlns="">
              <p:pic>
                <p:nvPicPr>
                  <p:cNvPr id="147" name="Ink 146">
                    <a:extLst>
                      <a:ext uri="{FF2B5EF4-FFF2-40B4-BE49-F238E27FC236}">
                        <a16:creationId xmlns:a16="http://schemas.microsoft.com/office/drawing/2014/main" id="{95CA2B61-5EC6-1437-AA5E-4542DB68CF41}"/>
                      </a:ext>
                    </a:extLst>
                  </p:cNvPr>
                  <p:cNvPicPr/>
                  <p:nvPr/>
                </p:nvPicPr>
                <p:blipFill>
                  <a:blip r:embed="rId36"/>
                  <a:stretch>
                    <a:fillRect/>
                  </a:stretch>
                </p:blipFill>
                <p:spPr>
                  <a:xfrm>
                    <a:off x="6100061" y="4908620"/>
                    <a:ext cx="272545" cy="79560"/>
                  </a:xfrm>
                  <a:prstGeom prst="rect">
                    <a:avLst/>
                  </a:prstGeom>
                </p:spPr>
              </p:pic>
            </mc:Fallback>
          </mc:AlternateContent>
        </p:grpSp>
      </p:grpSp>
      <p:grpSp>
        <p:nvGrpSpPr>
          <p:cNvPr id="150" name="Group 149">
            <a:extLst>
              <a:ext uri="{FF2B5EF4-FFF2-40B4-BE49-F238E27FC236}">
                <a16:creationId xmlns:a16="http://schemas.microsoft.com/office/drawing/2014/main" id="{F6FE0FB1-A95B-EC60-2802-8F15DFB47855}"/>
              </a:ext>
            </a:extLst>
          </p:cNvPr>
          <p:cNvGrpSpPr/>
          <p:nvPr/>
        </p:nvGrpSpPr>
        <p:grpSpPr>
          <a:xfrm>
            <a:off x="5934513" y="5871904"/>
            <a:ext cx="1003320" cy="718200"/>
            <a:chOff x="7891686" y="4619040"/>
            <a:chExt cx="1003320" cy="718200"/>
          </a:xfrm>
        </p:grpSpPr>
        <mc:AlternateContent xmlns:mc="http://schemas.openxmlformats.org/markup-compatibility/2006" xmlns:p14="http://schemas.microsoft.com/office/powerpoint/2010/main">
          <mc:Choice Requires="p14">
            <p:contentPart p14:bwMode="auto" r:id="rId59">
              <p14:nvContentPartPr>
                <p14:cNvPr id="151" name="Ink 150">
                  <a:extLst>
                    <a:ext uri="{FF2B5EF4-FFF2-40B4-BE49-F238E27FC236}">
                      <a16:creationId xmlns:a16="http://schemas.microsoft.com/office/drawing/2014/main" id="{0A29A8BC-EFF1-94C4-1EFA-6A71B14FD63A}"/>
                    </a:ext>
                  </a:extLst>
                </p14:cNvPr>
                <p14:cNvContentPartPr/>
                <p14:nvPr/>
              </p14:nvContentPartPr>
              <p14:xfrm>
                <a:off x="8058726" y="4619040"/>
                <a:ext cx="225360" cy="304200"/>
              </p14:xfrm>
            </p:contentPart>
          </mc:Choice>
          <mc:Fallback xmlns="">
            <p:pic>
              <p:nvPicPr>
                <p:cNvPr id="151" name="Ink 150">
                  <a:extLst>
                    <a:ext uri="{FF2B5EF4-FFF2-40B4-BE49-F238E27FC236}">
                      <a16:creationId xmlns:a16="http://schemas.microsoft.com/office/drawing/2014/main" id="{0A29A8BC-EFF1-94C4-1EFA-6A71B14FD63A}"/>
                    </a:ext>
                  </a:extLst>
                </p:cNvPr>
                <p:cNvPicPr/>
                <p:nvPr/>
              </p:nvPicPr>
              <p:blipFill>
                <a:blip r:embed="rId38"/>
                <a:stretch>
                  <a:fillRect/>
                </a:stretch>
              </p:blipFill>
              <p:spPr>
                <a:xfrm>
                  <a:off x="8049726" y="4610040"/>
                  <a:ext cx="243000" cy="32184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52" name="Ink 151">
                  <a:extLst>
                    <a:ext uri="{FF2B5EF4-FFF2-40B4-BE49-F238E27FC236}">
                      <a16:creationId xmlns:a16="http://schemas.microsoft.com/office/drawing/2014/main" id="{DA7C3F1E-B4D4-4FE7-BF3E-1364AC0E3239}"/>
                    </a:ext>
                  </a:extLst>
                </p14:cNvPr>
                <p14:cNvContentPartPr/>
                <p14:nvPr/>
              </p14:nvContentPartPr>
              <p14:xfrm>
                <a:off x="7891686" y="4792560"/>
                <a:ext cx="177840" cy="69120"/>
              </p14:xfrm>
            </p:contentPart>
          </mc:Choice>
          <mc:Fallback xmlns="">
            <p:pic>
              <p:nvPicPr>
                <p:cNvPr id="152" name="Ink 151">
                  <a:extLst>
                    <a:ext uri="{FF2B5EF4-FFF2-40B4-BE49-F238E27FC236}">
                      <a16:creationId xmlns:a16="http://schemas.microsoft.com/office/drawing/2014/main" id="{DA7C3F1E-B4D4-4FE7-BF3E-1364AC0E3239}"/>
                    </a:ext>
                  </a:extLst>
                </p:cNvPr>
                <p:cNvPicPr/>
                <p:nvPr/>
              </p:nvPicPr>
              <p:blipFill>
                <a:blip r:embed="rId40"/>
                <a:stretch>
                  <a:fillRect/>
                </a:stretch>
              </p:blipFill>
              <p:spPr>
                <a:xfrm>
                  <a:off x="7882686" y="4783560"/>
                  <a:ext cx="195480" cy="8676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153" name="Ink 152">
                  <a:extLst>
                    <a:ext uri="{FF2B5EF4-FFF2-40B4-BE49-F238E27FC236}">
                      <a16:creationId xmlns:a16="http://schemas.microsoft.com/office/drawing/2014/main" id="{295F0663-B05A-8FED-53CB-3E6B0623F9F5}"/>
                    </a:ext>
                  </a:extLst>
                </p14:cNvPr>
                <p14:cNvContentPartPr/>
                <p14:nvPr/>
              </p14:nvContentPartPr>
              <p14:xfrm>
                <a:off x="8033166" y="4807320"/>
                <a:ext cx="360" cy="104040"/>
              </p14:xfrm>
            </p:contentPart>
          </mc:Choice>
          <mc:Fallback xmlns="">
            <p:pic>
              <p:nvPicPr>
                <p:cNvPr id="153" name="Ink 152">
                  <a:extLst>
                    <a:ext uri="{FF2B5EF4-FFF2-40B4-BE49-F238E27FC236}">
                      <a16:creationId xmlns:a16="http://schemas.microsoft.com/office/drawing/2014/main" id="{295F0663-B05A-8FED-53CB-3E6B0623F9F5}"/>
                    </a:ext>
                  </a:extLst>
                </p:cNvPr>
                <p:cNvPicPr/>
                <p:nvPr/>
              </p:nvPicPr>
              <p:blipFill>
                <a:blip r:embed="rId42"/>
                <a:stretch>
                  <a:fillRect/>
                </a:stretch>
              </p:blipFill>
              <p:spPr>
                <a:xfrm>
                  <a:off x="8024166" y="4798320"/>
                  <a:ext cx="18000" cy="121680"/>
                </a:xfrm>
                <a:prstGeom prst="rect">
                  <a:avLst/>
                </a:prstGeom>
              </p:spPr>
            </p:pic>
          </mc:Fallback>
        </mc:AlternateContent>
        <p:grpSp>
          <p:nvGrpSpPr>
            <p:cNvPr id="154" name="Group 153">
              <a:extLst>
                <a:ext uri="{FF2B5EF4-FFF2-40B4-BE49-F238E27FC236}">
                  <a16:creationId xmlns:a16="http://schemas.microsoft.com/office/drawing/2014/main" id="{54BD9C73-3B62-E1D7-8DB4-CA603553C082}"/>
                </a:ext>
              </a:extLst>
            </p:cNvPr>
            <p:cNvGrpSpPr/>
            <p:nvPr/>
          </p:nvGrpSpPr>
          <p:grpSpPr>
            <a:xfrm>
              <a:off x="8380926" y="4824240"/>
              <a:ext cx="514080" cy="513000"/>
              <a:chOff x="7686131" y="5010674"/>
              <a:chExt cx="514080" cy="513000"/>
            </a:xfrm>
          </p:grpSpPr>
          <mc:AlternateContent xmlns:mc="http://schemas.openxmlformats.org/markup-compatibility/2006" xmlns:p14="http://schemas.microsoft.com/office/powerpoint/2010/main">
            <mc:Choice Requires="p14">
              <p:contentPart p14:bwMode="auto" r:id="rId62">
                <p14:nvContentPartPr>
                  <p14:cNvPr id="159" name="Ink 158">
                    <a:extLst>
                      <a:ext uri="{FF2B5EF4-FFF2-40B4-BE49-F238E27FC236}">
                        <a16:creationId xmlns:a16="http://schemas.microsoft.com/office/drawing/2014/main" id="{917A761E-BE9B-E7A9-B2DF-B5DFDA24F892}"/>
                      </a:ext>
                    </a:extLst>
                  </p14:cNvPr>
                  <p14:cNvContentPartPr/>
                  <p14:nvPr/>
                </p14:nvContentPartPr>
                <p14:xfrm>
                  <a:off x="7686131" y="5010674"/>
                  <a:ext cx="376200" cy="361800"/>
                </p14:xfrm>
              </p:contentPart>
            </mc:Choice>
            <mc:Fallback xmlns="">
              <p:pic>
                <p:nvPicPr>
                  <p:cNvPr id="159" name="Ink 158">
                    <a:extLst>
                      <a:ext uri="{FF2B5EF4-FFF2-40B4-BE49-F238E27FC236}">
                        <a16:creationId xmlns:a16="http://schemas.microsoft.com/office/drawing/2014/main" id="{917A761E-BE9B-E7A9-B2DF-B5DFDA24F892}"/>
                      </a:ext>
                    </a:extLst>
                  </p:cNvPr>
                  <p:cNvPicPr/>
                  <p:nvPr/>
                </p:nvPicPr>
                <p:blipFill>
                  <a:blip r:embed="rId44"/>
                  <a:stretch>
                    <a:fillRect/>
                  </a:stretch>
                </p:blipFill>
                <p:spPr>
                  <a:xfrm>
                    <a:off x="7677131" y="5001674"/>
                    <a:ext cx="393840" cy="37944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60" name="Ink 159">
                    <a:extLst>
                      <a:ext uri="{FF2B5EF4-FFF2-40B4-BE49-F238E27FC236}">
                        <a16:creationId xmlns:a16="http://schemas.microsoft.com/office/drawing/2014/main" id="{EF84E1E0-B21D-77DB-0104-59F7368FEFE8}"/>
                      </a:ext>
                    </a:extLst>
                  </p14:cNvPr>
                  <p14:cNvContentPartPr/>
                  <p14:nvPr/>
                </p14:nvContentPartPr>
                <p14:xfrm>
                  <a:off x="8044331" y="5263394"/>
                  <a:ext cx="155880" cy="69480"/>
                </p14:xfrm>
              </p:contentPart>
            </mc:Choice>
            <mc:Fallback xmlns="">
              <p:pic>
                <p:nvPicPr>
                  <p:cNvPr id="160" name="Ink 159">
                    <a:extLst>
                      <a:ext uri="{FF2B5EF4-FFF2-40B4-BE49-F238E27FC236}">
                        <a16:creationId xmlns:a16="http://schemas.microsoft.com/office/drawing/2014/main" id="{EF84E1E0-B21D-77DB-0104-59F7368FEFE8}"/>
                      </a:ext>
                    </a:extLst>
                  </p:cNvPr>
                  <p:cNvPicPr/>
                  <p:nvPr/>
                </p:nvPicPr>
                <p:blipFill>
                  <a:blip r:embed="rId46"/>
                  <a:stretch>
                    <a:fillRect/>
                  </a:stretch>
                </p:blipFill>
                <p:spPr>
                  <a:xfrm>
                    <a:off x="8035331" y="5254394"/>
                    <a:ext cx="17352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161" name="Ink 160">
                    <a:extLst>
                      <a:ext uri="{FF2B5EF4-FFF2-40B4-BE49-F238E27FC236}">
                        <a16:creationId xmlns:a16="http://schemas.microsoft.com/office/drawing/2014/main" id="{D1321F86-4E52-30FD-415A-739F8EAF01D5}"/>
                      </a:ext>
                    </a:extLst>
                  </p14:cNvPr>
                  <p14:cNvContentPartPr/>
                  <p14:nvPr/>
                </p14:nvContentPartPr>
                <p14:xfrm>
                  <a:off x="8052611" y="5330714"/>
                  <a:ext cx="15840" cy="192960"/>
                </p14:xfrm>
              </p:contentPart>
            </mc:Choice>
            <mc:Fallback xmlns="">
              <p:pic>
                <p:nvPicPr>
                  <p:cNvPr id="161" name="Ink 160">
                    <a:extLst>
                      <a:ext uri="{FF2B5EF4-FFF2-40B4-BE49-F238E27FC236}">
                        <a16:creationId xmlns:a16="http://schemas.microsoft.com/office/drawing/2014/main" id="{D1321F86-4E52-30FD-415A-739F8EAF01D5}"/>
                      </a:ext>
                    </a:extLst>
                  </p:cNvPr>
                  <p:cNvPicPr/>
                  <p:nvPr/>
                </p:nvPicPr>
                <p:blipFill>
                  <a:blip r:embed="rId48"/>
                  <a:stretch>
                    <a:fillRect/>
                  </a:stretch>
                </p:blipFill>
                <p:spPr>
                  <a:xfrm>
                    <a:off x="8043611" y="5321714"/>
                    <a:ext cx="33480" cy="210600"/>
                  </a:xfrm>
                  <a:prstGeom prst="rect">
                    <a:avLst/>
                  </a:prstGeom>
                </p:spPr>
              </p:pic>
            </mc:Fallback>
          </mc:AlternateContent>
        </p:grpSp>
        <p:grpSp>
          <p:nvGrpSpPr>
            <p:cNvPr id="155" name="Group 154">
              <a:extLst>
                <a:ext uri="{FF2B5EF4-FFF2-40B4-BE49-F238E27FC236}">
                  <a16:creationId xmlns:a16="http://schemas.microsoft.com/office/drawing/2014/main" id="{583153CB-64CF-52D9-E944-AD9090B2EC5B}"/>
                </a:ext>
              </a:extLst>
            </p:cNvPr>
            <p:cNvGrpSpPr/>
            <p:nvPr/>
          </p:nvGrpSpPr>
          <p:grpSpPr>
            <a:xfrm>
              <a:off x="8066538" y="4992360"/>
              <a:ext cx="475626" cy="320040"/>
              <a:chOff x="7371743" y="5178794"/>
              <a:chExt cx="475626" cy="320040"/>
            </a:xfrm>
          </p:grpSpPr>
          <mc:AlternateContent xmlns:mc="http://schemas.openxmlformats.org/markup-compatibility/2006" xmlns:p14="http://schemas.microsoft.com/office/powerpoint/2010/main">
            <mc:Choice Requires="p14">
              <p:contentPart p14:bwMode="auto" r:id="rId65">
                <p14:nvContentPartPr>
                  <p14:cNvPr id="156" name="Ink 155">
                    <a:extLst>
                      <a:ext uri="{FF2B5EF4-FFF2-40B4-BE49-F238E27FC236}">
                        <a16:creationId xmlns:a16="http://schemas.microsoft.com/office/drawing/2014/main" id="{AC422758-4115-309A-0B83-12677A364A24}"/>
                      </a:ext>
                    </a:extLst>
                  </p14:cNvPr>
                  <p14:cNvContentPartPr/>
                  <p14:nvPr/>
                </p14:nvContentPartPr>
                <p14:xfrm>
                  <a:off x="7597169" y="5178794"/>
                  <a:ext cx="250200" cy="151920"/>
                </p14:xfrm>
              </p:contentPart>
            </mc:Choice>
            <mc:Fallback xmlns="">
              <p:pic>
                <p:nvPicPr>
                  <p:cNvPr id="156" name="Ink 155">
                    <a:extLst>
                      <a:ext uri="{FF2B5EF4-FFF2-40B4-BE49-F238E27FC236}">
                        <a16:creationId xmlns:a16="http://schemas.microsoft.com/office/drawing/2014/main" id="{AC422758-4115-309A-0B83-12677A364A24}"/>
                      </a:ext>
                    </a:extLst>
                  </p:cNvPr>
                  <p:cNvPicPr/>
                  <p:nvPr/>
                </p:nvPicPr>
                <p:blipFill>
                  <a:blip r:embed="rId50"/>
                  <a:stretch>
                    <a:fillRect/>
                  </a:stretch>
                </p:blipFill>
                <p:spPr>
                  <a:xfrm>
                    <a:off x="7588169" y="5169794"/>
                    <a:ext cx="267840" cy="1695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157" name="Ink 156">
                    <a:extLst>
                      <a:ext uri="{FF2B5EF4-FFF2-40B4-BE49-F238E27FC236}">
                        <a16:creationId xmlns:a16="http://schemas.microsoft.com/office/drawing/2014/main" id="{688C113E-2EDB-D199-D08D-A0FD15B38906}"/>
                      </a:ext>
                    </a:extLst>
                  </p14:cNvPr>
                  <p14:cNvContentPartPr/>
                  <p14:nvPr/>
                </p14:nvContentPartPr>
                <p14:xfrm>
                  <a:off x="7585997" y="5333594"/>
                  <a:ext cx="87480" cy="165240"/>
                </p14:xfrm>
              </p:contentPart>
            </mc:Choice>
            <mc:Fallback xmlns="">
              <p:pic>
                <p:nvPicPr>
                  <p:cNvPr id="157" name="Ink 156">
                    <a:extLst>
                      <a:ext uri="{FF2B5EF4-FFF2-40B4-BE49-F238E27FC236}">
                        <a16:creationId xmlns:a16="http://schemas.microsoft.com/office/drawing/2014/main" id="{688C113E-2EDB-D199-D08D-A0FD15B38906}"/>
                      </a:ext>
                    </a:extLst>
                  </p:cNvPr>
                  <p:cNvPicPr/>
                  <p:nvPr/>
                </p:nvPicPr>
                <p:blipFill>
                  <a:blip r:embed="rId52"/>
                  <a:stretch>
                    <a:fillRect/>
                  </a:stretch>
                </p:blipFill>
                <p:spPr>
                  <a:xfrm>
                    <a:off x="7576997" y="5324614"/>
                    <a:ext cx="105120" cy="182842"/>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58" name="Ink 157">
                    <a:extLst>
                      <a:ext uri="{FF2B5EF4-FFF2-40B4-BE49-F238E27FC236}">
                        <a16:creationId xmlns:a16="http://schemas.microsoft.com/office/drawing/2014/main" id="{4A7DD636-DC63-21A0-667D-58B8062EA20C}"/>
                      </a:ext>
                    </a:extLst>
                  </p14:cNvPr>
                  <p14:cNvContentPartPr/>
                  <p14:nvPr/>
                </p14:nvContentPartPr>
                <p14:xfrm>
                  <a:off x="7371743" y="5332252"/>
                  <a:ext cx="201600" cy="12240"/>
                </p14:xfrm>
              </p:contentPart>
            </mc:Choice>
            <mc:Fallback xmlns="">
              <p:pic>
                <p:nvPicPr>
                  <p:cNvPr id="158" name="Ink 157">
                    <a:extLst>
                      <a:ext uri="{FF2B5EF4-FFF2-40B4-BE49-F238E27FC236}">
                        <a16:creationId xmlns:a16="http://schemas.microsoft.com/office/drawing/2014/main" id="{4A7DD636-DC63-21A0-667D-58B8062EA20C}"/>
                      </a:ext>
                    </a:extLst>
                  </p:cNvPr>
                  <p:cNvPicPr/>
                  <p:nvPr/>
                </p:nvPicPr>
                <p:blipFill>
                  <a:blip r:embed="rId54"/>
                  <a:stretch>
                    <a:fillRect/>
                  </a:stretch>
                </p:blipFill>
                <p:spPr>
                  <a:xfrm>
                    <a:off x="7362743" y="5323252"/>
                    <a:ext cx="219240" cy="29880"/>
                  </a:xfrm>
                  <a:prstGeom prst="rect">
                    <a:avLst/>
                  </a:prstGeom>
                </p:spPr>
              </p:pic>
            </mc:Fallback>
          </mc:AlternateContent>
        </p:grpSp>
      </p:grpSp>
      <p:sp>
        <p:nvSpPr>
          <p:cNvPr id="193" name="Arrow: Down 192">
            <a:extLst>
              <a:ext uri="{FF2B5EF4-FFF2-40B4-BE49-F238E27FC236}">
                <a16:creationId xmlns:a16="http://schemas.microsoft.com/office/drawing/2014/main" id="{F401C55E-706E-9A44-D28F-889E9C408077}"/>
              </a:ext>
            </a:extLst>
          </p:cNvPr>
          <p:cNvSpPr/>
          <p:nvPr/>
        </p:nvSpPr>
        <p:spPr>
          <a:xfrm>
            <a:off x="10140758" y="3696396"/>
            <a:ext cx="260975" cy="46166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4" name="TextBox 193">
            <a:extLst>
              <a:ext uri="{FF2B5EF4-FFF2-40B4-BE49-F238E27FC236}">
                <a16:creationId xmlns:a16="http://schemas.microsoft.com/office/drawing/2014/main" id="{764E6D94-C7A8-B4EF-34BC-F46BD0771E0F}"/>
              </a:ext>
            </a:extLst>
          </p:cNvPr>
          <p:cNvSpPr txBox="1"/>
          <p:nvPr/>
        </p:nvSpPr>
        <p:spPr>
          <a:xfrm>
            <a:off x="9923665" y="3815745"/>
            <a:ext cx="1567526" cy="230832"/>
          </a:xfrm>
          <a:prstGeom prst="rect">
            <a:avLst/>
          </a:prstGeom>
          <a:noFill/>
        </p:spPr>
        <p:txBody>
          <a:bodyPr wrap="square" rtlCol="0">
            <a:spAutoFit/>
          </a:bodyPr>
          <a:lstStyle/>
          <a:p>
            <a:pPr algn="ctr"/>
            <a:r>
              <a:rPr lang="en-GB" sz="900">
                <a:solidFill>
                  <a:srgbClr val="000A1E"/>
                </a:solidFill>
                <a:latin typeface="Arial Black" panose="020B0A04020102020204" pitchFamily="34" charset="0"/>
              </a:rPr>
              <a:t>Breakdown</a:t>
            </a:r>
            <a:endParaRPr lang="en-GB" sz="300">
              <a:solidFill>
                <a:srgbClr val="000A1E"/>
              </a:solidFill>
              <a:latin typeface="Arial" panose="020B0604020202020204" pitchFamily="34" charset="0"/>
              <a:cs typeface="Arial" panose="020B0604020202020204" pitchFamily="34" charset="0"/>
            </a:endParaRPr>
          </a:p>
        </p:txBody>
      </p:sp>
      <p:sp>
        <p:nvSpPr>
          <p:cNvPr id="195" name="TextBox 194">
            <a:extLst>
              <a:ext uri="{FF2B5EF4-FFF2-40B4-BE49-F238E27FC236}">
                <a16:creationId xmlns:a16="http://schemas.microsoft.com/office/drawing/2014/main" id="{ADBA78D6-04DD-1813-BF6D-1A7C284DB5AC}"/>
              </a:ext>
            </a:extLst>
          </p:cNvPr>
          <p:cNvSpPr txBox="1"/>
          <p:nvPr/>
        </p:nvSpPr>
        <p:spPr>
          <a:xfrm>
            <a:off x="10799932" y="2488285"/>
            <a:ext cx="1743256" cy="246221"/>
          </a:xfrm>
          <a:prstGeom prst="rect">
            <a:avLst/>
          </a:prstGeom>
          <a:noFill/>
        </p:spPr>
        <p:txBody>
          <a:bodyPr wrap="square" rtlCol="0">
            <a:spAutoFit/>
          </a:bodyPr>
          <a:lstStyle/>
          <a:p>
            <a:pPr algn="ctr"/>
            <a:r>
              <a:rPr lang="en-GB" sz="1000" i="1">
                <a:solidFill>
                  <a:srgbClr val="FF0000"/>
                </a:solidFill>
                <a:latin typeface="Arial Black" panose="020B0A04020102020204" pitchFamily="34" charset="0"/>
              </a:rPr>
              <a:t>Sucrose</a:t>
            </a:r>
            <a:endParaRPr lang="en-GB" sz="400" i="1">
              <a:solidFill>
                <a:srgbClr val="FF0000"/>
              </a:solidFill>
              <a:latin typeface="Arial" panose="020B0604020202020204" pitchFamily="34" charset="0"/>
              <a:cs typeface="Arial" panose="020B0604020202020204" pitchFamily="34" charset="0"/>
            </a:endParaRPr>
          </a:p>
        </p:txBody>
      </p:sp>
      <p:sp>
        <p:nvSpPr>
          <p:cNvPr id="196" name="TextBox 195">
            <a:extLst>
              <a:ext uri="{FF2B5EF4-FFF2-40B4-BE49-F238E27FC236}">
                <a16:creationId xmlns:a16="http://schemas.microsoft.com/office/drawing/2014/main" id="{18A2644F-5A0D-9B1F-44E8-228B8A7FC9EF}"/>
              </a:ext>
            </a:extLst>
          </p:cNvPr>
          <p:cNvSpPr txBox="1"/>
          <p:nvPr/>
        </p:nvSpPr>
        <p:spPr>
          <a:xfrm>
            <a:off x="8232429" y="4122692"/>
            <a:ext cx="900789" cy="246221"/>
          </a:xfrm>
          <a:prstGeom prst="rect">
            <a:avLst/>
          </a:prstGeom>
          <a:noFill/>
        </p:spPr>
        <p:txBody>
          <a:bodyPr wrap="square" rtlCol="0">
            <a:spAutoFit/>
          </a:bodyPr>
          <a:lstStyle/>
          <a:p>
            <a:pPr algn="ctr"/>
            <a:r>
              <a:rPr lang="en-GB" sz="1000" i="1">
                <a:solidFill>
                  <a:srgbClr val="FF0000"/>
                </a:solidFill>
                <a:latin typeface="Arial Black" panose="020B0A04020102020204" pitchFamily="34" charset="0"/>
              </a:rPr>
              <a:t>Glucose</a:t>
            </a:r>
            <a:endParaRPr lang="en-GB" sz="400" i="1">
              <a:solidFill>
                <a:srgbClr val="FF0000"/>
              </a:solidFill>
              <a:latin typeface="Arial" panose="020B0604020202020204" pitchFamily="34" charset="0"/>
              <a:cs typeface="Arial" panose="020B0604020202020204" pitchFamily="34" charset="0"/>
            </a:endParaRPr>
          </a:p>
        </p:txBody>
      </p:sp>
      <p:sp>
        <p:nvSpPr>
          <p:cNvPr id="197" name="TextBox 196">
            <a:extLst>
              <a:ext uri="{FF2B5EF4-FFF2-40B4-BE49-F238E27FC236}">
                <a16:creationId xmlns:a16="http://schemas.microsoft.com/office/drawing/2014/main" id="{C532AEDD-6C00-F35F-7906-35A05D85B0F1}"/>
              </a:ext>
            </a:extLst>
          </p:cNvPr>
          <p:cNvSpPr txBox="1"/>
          <p:nvPr/>
        </p:nvSpPr>
        <p:spPr>
          <a:xfrm>
            <a:off x="10923806" y="4173471"/>
            <a:ext cx="1743256" cy="246221"/>
          </a:xfrm>
          <a:prstGeom prst="rect">
            <a:avLst/>
          </a:prstGeom>
          <a:noFill/>
        </p:spPr>
        <p:txBody>
          <a:bodyPr wrap="square" rtlCol="0">
            <a:spAutoFit/>
          </a:bodyPr>
          <a:lstStyle/>
          <a:p>
            <a:pPr algn="ctr"/>
            <a:r>
              <a:rPr lang="en-GB" sz="1000" i="1">
                <a:solidFill>
                  <a:srgbClr val="FF0000"/>
                </a:solidFill>
                <a:latin typeface="Arial Black" panose="020B0A04020102020204" pitchFamily="34" charset="0"/>
              </a:rPr>
              <a:t>Fructose</a:t>
            </a:r>
            <a:endParaRPr lang="en-GB" sz="400" i="1">
              <a:solidFill>
                <a:srgbClr val="FF0000"/>
              </a:solidFill>
              <a:latin typeface="Arial" panose="020B0604020202020204" pitchFamily="34" charset="0"/>
              <a:cs typeface="Arial" panose="020B0604020202020204" pitchFamily="34" charset="0"/>
            </a:endParaRPr>
          </a:p>
        </p:txBody>
      </p:sp>
      <p:sp>
        <p:nvSpPr>
          <p:cNvPr id="199" name="TextBox 198">
            <a:extLst>
              <a:ext uri="{FF2B5EF4-FFF2-40B4-BE49-F238E27FC236}">
                <a16:creationId xmlns:a16="http://schemas.microsoft.com/office/drawing/2014/main" id="{A0438DD2-551A-D827-3500-94E8BF4439BA}"/>
              </a:ext>
            </a:extLst>
          </p:cNvPr>
          <p:cNvSpPr txBox="1"/>
          <p:nvPr/>
        </p:nvSpPr>
        <p:spPr>
          <a:xfrm>
            <a:off x="9593610" y="3782039"/>
            <a:ext cx="688956" cy="276999"/>
          </a:xfrm>
          <a:prstGeom prst="rect">
            <a:avLst/>
          </a:prstGeom>
          <a:noFill/>
        </p:spPr>
        <p:txBody>
          <a:bodyPr wrap="square" rtlCol="0">
            <a:spAutoFit/>
          </a:bodyPr>
          <a:lstStyle/>
          <a:p>
            <a:pPr algn="ctr"/>
            <a:r>
              <a:rPr lang="en-GB" sz="1200">
                <a:solidFill>
                  <a:srgbClr val="FF0000"/>
                </a:solidFill>
                <a:latin typeface="Arial Black" panose="020B0A04020102020204" pitchFamily="34" charset="0"/>
              </a:rPr>
              <a:t>H</a:t>
            </a:r>
            <a:r>
              <a:rPr lang="en-GB" sz="1200" baseline="-25000">
                <a:solidFill>
                  <a:srgbClr val="FF0000"/>
                </a:solidFill>
                <a:latin typeface="Arial Black" panose="020B0A04020102020204" pitchFamily="34" charset="0"/>
              </a:rPr>
              <a:t>2</a:t>
            </a:r>
            <a:r>
              <a:rPr lang="en-GB" sz="1200">
                <a:solidFill>
                  <a:srgbClr val="FF0000"/>
                </a:solidFill>
                <a:latin typeface="Arial Black" panose="020B0A04020102020204" pitchFamily="34" charset="0"/>
              </a:rPr>
              <a:t>O</a:t>
            </a:r>
          </a:p>
        </p:txBody>
      </p:sp>
      <p:sp>
        <p:nvSpPr>
          <p:cNvPr id="200" name="Arc 199">
            <a:extLst>
              <a:ext uri="{FF2B5EF4-FFF2-40B4-BE49-F238E27FC236}">
                <a16:creationId xmlns:a16="http://schemas.microsoft.com/office/drawing/2014/main" id="{66793F72-4D2B-CFAC-EDDC-8C0F66DB22DA}"/>
              </a:ext>
            </a:extLst>
          </p:cNvPr>
          <p:cNvSpPr/>
          <p:nvPr/>
        </p:nvSpPr>
        <p:spPr>
          <a:xfrm rot="6740315" flipH="1">
            <a:off x="9810104" y="3767748"/>
            <a:ext cx="367758" cy="315891"/>
          </a:xfrm>
          <a:prstGeom prst="arc">
            <a:avLst>
              <a:gd name="adj1" fmla="val 12292689"/>
              <a:gd name="adj2" fmla="val 1297196"/>
            </a:avLst>
          </a:prstGeom>
          <a:ln w="1905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1" name="TextBox 200">
            <a:extLst>
              <a:ext uri="{FF2B5EF4-FFF2-40B4-BE49-F238E27FC236}">
                <a16:creationId xmlns:a16="http://schemas.microsoft.com/office/drawing/2014/main" id="{AA9D6D02-8DAA-A71D-8195-26A9AD8F3AA7}"/>
              </a:ext>
            </a:extLst>
          </p:cNvPr>
          <p:cNvSpPr txBox="1"/>
          <p:nvPr/>
        </p:nvSpPr>
        <p:spPr>
          <a:xfrm>
            <a:off x="8539313" y="5365158"/>
            <a:ext cx="1743256" cy="400110"/>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C</a:t>
            </a:r>
            <a:r>
              <a:rPr lang="en-GB" sz="1200" baseline="-25000">
                <a:solidFill>
                  <a:srgbClr val="000A1E"/>
                </a:solidFill>
                <a:latin typeface="Arial Black" panose="020B0A04020102020204" pitchFamily="34" charset="0"/>
              </a:rPr>
              <a:t>12</a:t>
            </a:r>
            <a:r>
              <a:rPr lang="en-GB" sz="1200">
                <a:solidFill>
                  <a:srgbClr val="000A1E"/>
                </a:solidFill>
                <a:latin typeface="Arial Black" panose="020B0A04020102020204" pitchFamily="34" charset="0"/>
              </a:rPr>
              <a:t>H</a:t>
            </a:r>
            <a:r>
              <a:rPr lang="en-GB" sz="1200" baseline="-25000">
                <a:solidFill>
                  <a:srgbClr val="000A1E"/>
                </a:solidFill>
                <a:latin typeface="Arial Black" panose="020B0A04020102020204" pitchFamily="34" charset="0"/>
              </a:rPr>
              <a:t>12</a:t>
            </a:r>
            <a:r>
              <a:rPr lang="en-GB" sz="1200">
                <a:solidFill>
                  <a:srgbClr val="000A1E"/>
                </a:solidFill>
                <a:latin typeface="Arial Black" panose="020B0A04020102020204" pitchFamily="34" charset="0"/>
              </a:rPr>
              <a:t>O</a:t>
            </a:r>
            <a:r>
              <a:rPr lang="en-GB" sz="1200" baseline="-25000">
                <a:solidFill>
                  <a:srgbClr val="000A1E"/>
                </a:solidFill>
                <a:latin typeface="Arial Black" panose="020B0A04020102020204" pitchFamily="34" charset="0"/>
              </a:rPr>
              <a:t>9</a:t>
            </a:r>
            <a:br>
              <a:rPr lang="en-GB" sz="1200" baseline="-25000">
                <a:solidFill>
                  <a:srgbClr val="000A1E"/>
                </a:solidFill>
                <a:latin typeface="Arial Black" panose="020B0A04020102020204" pitchFamily="34" charset="0"/>
              </a:rPr>
            </a:br>
            <a:r>
              <a:rPr lang="en-GB" sz="1200" baseline="-25000" err="1">
                <a:solidFill>
                  <a:srgbClr val="000A1E"/>
                </a:solidFill>
                <a:latin typeface="Arial Black" panose="020B0A04020102020204" pitchFamily="34" charset="0"/>
              </a:rPr>
              <a:t>Caramelan</a:t>
            </a:r>
            <a:endParaRPr lang="en-GB" sz="700" baseline="-25000">
              <a:solidFill>
                <a:srgbClr val="000A1E"/>
              </a:solidFill>
              <a:latin typeface="Arial" panose="020B0604020202020204" pitchFamily="34" charset="0"/>
              <a:cs typeface="Arial" panose="020B0604020202020204" pitchFamily="34" charset="0"/>
            </a:endParaRPr>
          </a:p>
        </p:txBody>
      </p:sp>
      <p:sp>
        <p:nvSpPr>
          <p:cNvPr id="202" name="TextBox 201">
            <a:extLst>
              <a:ext uri="{FF2B5EF4-FFF2-40B4-BE49-F238E27FC236}">
                <a16:creationId xmlns:a16="http://schemas.microsoft.com/office/drawing/2014/main" id="{559AE4E5-2F35-4F36-83CB-05D5389B492E}"/>
              </a:ext>
            </a:extLst>
          </p:cNvPr>
          <p:cNvSpPr txBox="1"/>
          <p:nvPr/>
        </p:nvSpPr>
        <p:spPr>
          <a:xfrm>
            <a:off x="8573495" y="5711577"/>
            <a:ext cx="1743256" cy="400110"/>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C</a:t>
            </a:r>
            <a:r>
              <a:rPr lang="en-GB" sz="1200" baseline="-25000">
                <a:solidFill>
                  <a:srgbClr val="000A1E"/>
                </a:solidFill>
                <a:latin typeface="Arial Black" panose="020B0A04020102020204" pitchFamily="34" charset="0"/>
              </a:rPr>
              <a:t>24</a:t>
            </a:r>
            <a:r>
              <a:rPr lang="en-GB" sz="1200">
                <a:solidFill>
                  <a:srgbClr val="000A1E"/>
                </a:solidFill>
                <a:latin typeface="Arial Black" panose="020B0A04020102020204" pitchFamily="34" charset="0"/>
              </a:rPr>
              <a:t>H</a:t>
            </a:r>
            <a:r>
              <a:rPr lang="en-GB" sz="1200" baseline="-25000">
                <a:solidFill>
                  <a:srgbClr val="000A1E"/>
                </a:solidFill>
                <a:latin typeface="Arial Black" panose="020B0A04020102020204" pitchFamily="34" charset="0"/>
              </a:rPr>
              <a:t>26</a:t>
            </a:r>
            <a:r>
              <a:rPr lang="en-GB" sz="1200">
                <a:solidFill>
                  <a:srgbClr val="000A1E"/>
                </a:solidFill>
                <a:latin typeface="Arial Black" panose="020B0A04020102020204" pitchFamily="34" charset="0"/>
              </a:rPr>
              <a:t>O</a:t>
            </a:r>
            <a:r>
              <a:rPr lang="en-GB" sz="1200" baseline="-25000">
                <a:solidFill>
                  <a:srgbClr val="000A1E"/>
                </a:solidFill>
                <a:latin typeface="Arial Black" panose="020B0A04020102020204" pitchFamily="34" charset="0"/>
              </a:rPr>
              <a:t>13</a:t>
            </a:r>
            <a:br>
              <a:rPr lang="en-GB" sz="700" baseline="-25000">
                <a:solidFill>
                  <a:srgbClr val="000A1E"/>
                </a:solidFill>
                <a:latin typeface="Arial" panose="020B0604020202020204" pitchFamily="34" charset="0"/>
                <a:cs typeface="Arial" panose="020B0604020202020204" pitchFamily="34" charset="0"/>
              </a:rPr>
            </a:br>
            <a:r>
              <a:rPr lang="en-GB" sz="1200" baseline="-25000" err="1">
                <a:solidFill>
                  <a:srgbClr val="000A1E"/>
                </a:solidFill>
                <a:latin typeface="Arial Black" panose="020B0A04020102020204" pitchFamily="34" charset="0"/>
                <a:cs typeface="Arial" panose="020B0604020202020204" pitchFamily="34" charset="0"/>
              </a:rPr>
              <a:t>Caramelen</a:t>
            </a:r>
            <a:endParaRPr lang="en-GB" sz="1200" baseline="-25000">
              <a:solidFill>
                <a:srgbClr val="000A1E"/>
              </a:solidFill>
              <a:latin typeface="Arial Black" panose="020B0A04020102020204" pitchFamily="34" charset="0"/>
            </a:endParaRPr>
          </a:p>
        </p:txBody>
      </p:sp>
      <p:sp>
        <p:nvSpPr>
          <p:cNvPr id="203" name="TextBox 202">
            <a:extLst>
              <a:ext uri="{FF2B5EF4-FFF2-40B4-BE49-F238E27FC236}">
                <a16:creationId xmlns:a16="http://schemas.microsoft.com/office/drawing/2014/main" id="{AE7B814A-FB95-6B7D-35F7-80EBF91B72F0}"/>
              </a:ext>
            </a:extLst>
          </p:cNvPr>
          <p:cNvSpPr txBox="1"/>
          <p:nvPr/>
        </p:nvSpPr>
        <p:spPr>
          <a:xfrm>
            <a:off x="8584476" y="6070821"/>
            <a:ext cx="1743256" cy="400110"/>
          </a:xfrm>
          <a:prstGeom prst="rect">
            <a:avLst/>
          </a:prstGeom>
          <a:noFill/>
        </p:spPr>
        <p:txBody>
          <a:bodyPr wrap="square" rtlCol="0">
            <a:spAutoFit/>
          </a:bodyPr>
          <a:lstStyle/>
          <a:p>
            <a:pPr algn="ctr"/>
            <a:r>
              <a:rPr lang="en-GB" sz="1200">
                <a:solidFill>
                  <a:srgbClr val="000A1E"/>
                </a:solidFill>
                <a:latin typeface="Arial Black" panose="020B0A04020102020204" pitchFamily="34" charset="0"/>
              </a:rPr>
              <a:t>C</a:t>
            </a:r>
            <a:r>
              <a:rPr lang="en-GB" sz="1200" baseline="-25000">
                <a:solidFill>
                  <a:srgbClr val="000A1E"/>
                </a:solidFill>
                <a:latin typeface="Arial Black" panose="020B0A04020102020204" pitchFamily="34" charset="0"/>
              </a:rPr>
              <a:t>36</a:t>
            </a:r>
            <a:r>
              <a:rPr lang="en-GB" sz="1200">
                <a:solidFill>
                  <a:srgbClr val="000A1E"/>
                </a:solidFill>
                <a:latin typeface="Arial Black" panose="020B0A04020102020204" pitchFamily="34" charset="0"/>
              </a:rPr>
              <a:t>H</a:t>
            </a:r>
            <a:r>
              <a:rPr lang="en-GB" sz="1200" baseline="-25000">
                <a:solidFill>
                  <a:srgbClr val="000A1E"/>
                </a:solidFill>
                <a:latin typeface="Arial Black" panose="020B0A04020102020204" pitchFamily="34" charset="0"/>
              </a:rPr>
              <a:t>18</a:t>
            </a:r>
            <a:r>
              <a:rPr lang="en-GB" sz="1200">
                <a:solidFill>
                  <a:srgbClr val="000A1E"/>
                </a:solidFill>
                <a:latin typeface="Arial Black" panose="020B0A04020102020204" pitchFamily="34" charset="0"/>
              </a:rPr>
              <a:t>O</a:t>
            </a:r>
            <a:r>
              <a:rPr lang="en-GB" sz="1200" baseline="-25000">
                <a:solidFill>
                  <a:srgbClr val="000A1E"/>
                </a:solidFill>
                <a:latin typeface="Arial Black" panose="020B0A04020102020204" pitchFamily="34" charset="0"/>
              </a:rPr>
              <a:t>24</a:t>
            </a:r>
            <a:br>
              <a:rPr lang="en-GB" sz="1200" baseline="-25000">
                <a:solidFill>
                  <a:srgbClr val="000A1E"/>
                </a:solidFill>
                <a:latin typeface="Arial Black" panose="020B0A04020102020204" pitchFamily="34" charset="0"/>
              </a:rPr>
            </a:br>
            <a:r>
              <a:rPr lang="en-GB" sz="1200" baseline="-25000" err="1">
                <a:solidFill>
                  <a:srgbClr val="000A1E"/>
                </a:solidFill>
                <a:latin typeface="Arial Black" panose="020B0A04020102020204" pitchFamily="34" charset="0"/>
              </a:rPr>
              <a:t>Caramelin</a:t>
            </a:r>
            <a:endParaRPr lang="en-GB" sz="700" baseline="-25000">
              <a:solidFill>
                <a:srgbClr val="000A1E"/>
              </a:solidFill>
              <a:latin typeface="Arial" panose="020B0604020202020204" pitchFamily="34" charset="0"/>
              <a:cs typeface="Arial" panose="020B0604020202020204" pitchFamily="34" charset="0"/>
            </a:endParaRPr>
          </a:p>
        </p:txBody>
      </p:sp>
      <p:sp>
        <p:nvSpPr>
          <p:cNvPr id="204" name="TextBox 203">
            <a:extLst>
              <a:ext uri="{FF2B5EF4-FFF2-40B4-BE49-F238E27FC236}">
                <a16:creationId xmlns:a16="http://schemas.microsoft.com/office/drawing/2014/main" id="{ABB3D436-06BC-61DF-1B80-F9AB75CA9A75}"/>
              </a:ext>
            </a:extLst>
          </p:cNvPr>
          <p:cNvSpPr txBox="1"/>
          <p:nvPr/>
        </p:nvSpPr>
        <p:spPr>
          <a:xfrm>
            <a:off x="8661360" y="5188357"/>
            <a:ext cx="1567526" cy="230832"/>
          </a:xfrm>
          <a:prstGeom prst="rect">
            <a:avLst/>
          </a:prstGeom>
          <a:noFill/>
        </p:spPr>
        <p:txBody>
          <a:bodyPr wrap="square" rtlCol="0">
            <a:spAutoFit/>
          </a:bodyPr>
          <a:lstStyle/>
          <a:p>
            <a:pPr algn="ctr"/>
            <a:r>
              <a:rPr lang="en-GB" sz="900">
                <a:solidFill>
                  <a:srgbClr val="000A1E"/>
                </a:solidFill>
                <a:latin typeface="Arial Black" panose="020B0A04020102020204" pitchFamily="34" charset="0"/>
                <a:cs typeface="Arial" panose="020B0604020202020204" pitchFamily="34" charset="0"/>
              </a:rPr>
              <a:t>Polymerisation</a:t>
            </a:r>
            <a:endParaRPr lang="en-GB" sz="300">
              <a:solidFill>
                <a:srgbClr val="000A1E"/>
              </a:solidFill>
              <a:latin typeface="Arial" panose="020B0604020202020204" pitchFamily="34" charset="0"/>
              <a:cs typeface="Arial" panose="020B0604020202020204" pitchFamily="34" charset="0"/>
            </a:endParaRPr>
          </a:p>
        </p:txBody>
      </p:sp>
      <p:sp>
        <p:nvSpPr>
          <p:cNvPr id="206" name="TextBox 205">
            <a:extLst>
              <a:ext uri="{FF2B5EF4-FFF2-40B4-BE49-F238E27FC236}">
                <a16:creationId xmlns:a16="http://schemas.microsoft.com/office/drawing/2014/main" id="{B2F9EC32-2332-DD9D-22F8-B957DCBD0018}"/>
              </a:ext>
            </a:extLst>
          </p:cNvPr>
          <p:cNvSpPr txBox="1"/>
          <p:nvPr/>
        </p:nvSpPr>
        <p:spPr>
          <a:xfrm>
            <a:off x="10668175" y="5249669"/>
            <a:ext cx="1269429" cy="369332"/>
          </a:xfrm>
          <a:prstGeom prst="rect">
            <a:avLst/>
          </a:prstGeom>
          <a:noFill/>
        </p:spPr>
        <p:txBody>
          <a:bodyPr wrap="square" rtlCol="0">
            <a:spAutoFit/>
          </a:bodyPr>
          <a:lstStyle/>
          <a:p>
            <a:pPr algn="ctr"/>
            <a:r>
              <a:rPr lang="en-GB" sz="900">
                <a:solidFill>
                  <a:srgbClr val="000A1E"/>
                </a:solidFill>
                <a:latin typeface="Arial Black" panose="020B0A04020102020204" pitchFamily="34" charset="0"/>
                <a:cs typeface="Arial" panose="020B0604020202020204" pitchFamily="34" charset="0"/>
              </a:rPr>
              <a:t>Decomposition</a:t>
            </a:r>
            <a:br>
              <a:rPr lang="en-GB" sz="900">
                <a:solidFill>
                  <a:srgbClr val="000A1E"/>
                </a:solidFill>
                <a:latin typeface="Arial Black" panose="020B0A04020102020204" pitchFamily="34" charset="0"/>
                <a:cs typeface="Arial" panose="020B0604020202020204" pitchFamily="34" charset="0"/>
              </a:rPr>
            </a:br>
            <a:r>
              <a:rPr lang="en-GB" sz="900">
                <a:solidFill>
                  <a:srgbClr val="000A1E"/>
                </a:solidFill>
                <a:latin typeface="Arial Black" panose="020B0A04020102020204" pitchFamily="34" charset="0"/>
                <a:cs typeface="Arial" panose="020B0604020202020204" pitchFamily="34" charset="0"/>
              </a:rPr>
              <a:t>(examples)</a:t>
            </a:r>
            <a:endParaRPr lang="en-GB" sz="300">
              <a:solidFill>
                <a:srgbClr val="000A1E"/>
              </a:solidFill>
              <a:latin typeface="Arial" panose="020B0604020202020204" pitchFamily="34" charset="0"/>
              <a:cs typeface="Arial" panose="020B0604020202020204" pitchFamily="34" charset="0"/>
            </a:endParaRPr>
          </a:p>
        </p:txBody>
      </p:sp>
      <p:pic>
        <p:nvPicPr>
          <p:cNvPr id="213" name="Picture 212">
            <a:extLst>
              <a:ext uri="{FF2B5EF4-FFF2-40B4-BE49-F238E27FC236}">
                <a16:creationId xmlns:a16="http://schemas.microsoft.com/office/drawing/2014/main" id="{398D64F0-6FAE-9476-C049-C6C6507522B7}"/>
              </a:ext>
            </a:extLst>
          </p:cNvPr>
          <p:cNvPicPr>
            <a:picLocks noChangeAspect="1"/>
          </p:cNvPicPr>
          <p:nvPr/>
        </p:nvPicPr>
        <p:blipFill>
          <a:blip r:embed="rId68"/>
          <a:stretch>
            <a:fillRect/>
          </a:stretch>
        </p:blipFill>
        <p:spPr>
          <a:xfrm>
            <a:off x="10648727" y="5643919"/>
            <a:ext cx="460192" cy="477699"/>
          </a:xfrm>
          <a:prstGeom prst="rect">
            <a:avLst/>
          </a:prstGeom>
        </p:spPr>
      </p:pic>
      <p:pic>
        <p:nvPicPr>
          <p:cNvPr id="232" name="Picture 231">
            <a:extLst>
              <a:ext uri="{FF2B5EF4-FFF2-40B4-BE49-F238E27FC236}">
                <a16:creationId xmlns:a16="http://schemas.microsoft.com/office/drawing/2014/main" id="{F505F207-0E58-7F52-3CD7-39AA19839CE7}"/>
              </a:ext>
            </a:extLst>
          </p:cNvPr>
          <p:cNvPicPr>
            <a:picLocks noChangeAspect="1"/>
          </p:cNvPicPr>
          <p:nvPr/>
        </p:nvPicPr>
        <p:blipFill>
          <a:blip r:embed="rId69"/>
          <a:stretch>
            <a:fillRect/>
          </a:stretch>
        </p:blipFill>
        <p:spPr>
          <a:xfrm>
            <a:off x="11386784" y="5698442"/>
            <a:ext cx="569552" cy="601527"/>
          </a:xfrm>
          <a:prstGeom prst="rect">
            <a:avLst/>
          </a:prstGeom>
        </p:spPr>
      </p:pic>
      <p:sp>
        <p:nvSpPr>
          <p:cNvPr id="233" name="TextBox 232">
            <a:extLst>
              <a:ext uri="{FF2B5EF4-FFF2-40B4-BE49-F238E27FC236}">
                <a16:creationId xmlns:a16="http://schemas.microsoft.com/office/drawing/2014/main" id="{37FFDDAE-27C0-C2B1-F76F-144BBB2EADDA}"/>
              </a:ext>
            </a:extLst>
          </p:cNvPr>
          <p:cNvSpPr txBox="1"/>
          <p:nvPr/>
        </p:nvSpPr>
        <p:spPr>
          <a:xfrm>
            <a:off x="10474328" y="6138390"/>
            <a:ext cx="845748" cy="230832"/>
          </a:xfrm>
          <a:prstGeom prst="rect">
            <a:avLst/>
          </a:prstGeom>
          <a:noFill/>
        </p:spPr>
        <p:txBody>
          <a:bodyPr wrap="square" rtlCol="0">
            <a:spAutoFit/>
          </a:bodyPr>
          <a:lstStyle/>
          <a:p>
            <a:pPr algn="ctr"/>
            <a:r>
              <a:rPr lang="en-GB" sz="900">
                <a:solidFill>
                  <a:srgbClr val="000A1E"/>
                </a:solidFill>
                <a:latin typeface="Arial Black" panose="020B0A04020102020204" pitchFamily="34" charset="0"/>
              </a:rPr>
              <a:t>Furan</a:t>
            </a:r>
            <a:endParaRPr lang="en-GB" sz="300">
              <a:solidFill>
                <a:srgbClr val="000A1E"/>
              </a:solidFill>
              <a:latin typeface="Arial" panose="020B0604020202020204" pitchFamily="34" charset="0"/>
              <a:cs typeface="Arial" panose="020B0604020202020204" pitchFamily="34" charset="0"/>
            </a:endParaRPr>
          </a:p>
        </p:txBody>
      </p:sp>
      <p:sp>
        <p:nvSpPr>
          <p:cNvPr id="234" name="TextBox 233">
            <a:extLst>
              <a:ext uri="{FF2B5EF4-FFF2-40B4-BE49-F238E27FC236}">
                <a16:creationId xmlns:a16="http://schemas.microsoft.com/office/drawing/2014/main" id="{20DDA6DC-6DDF-C65D-F088-3F51786D4E9C}"/>
              </a:ext>
            </a:extLst>
          </p:cNvPr>
          <p:cNvSpPr txBox="1"/>
          <p:nvPr/>
        </p:nvSpPr>
        <p:spPr>
          <a:xfrm>
            <a:off x="11174851" y="6255169"/>
            <a:ext cx="845748" cy="230832"/>
          </a:xfrm>
          <a:prstGeom prst="rect">
            <a:avLst/>
          </a:prstGeom>
          <a:noFill/>
        </p:spPr>
        <p:txBody>
          <a:bodyPr wrap="square" rtlCol="0">
            <a:spAutoFit/>
          </a:bodyPr>
          <a:lstStyle/>
          <a:p>
            <a:pPr algn="ctr"/>
            <a:r>
              <a:rPr lang="en-GB" sz="900">
                <a:solidFill>
                  <a:srgbClr val="000A1E"/>
                </a:solidFill>
                <a:latin typeface="Arial Black" panose="020B0A04020102020204" pitchFamily="34" charset="0"/>
              </a:rPr>
              <a:t>Maltol</a:t>
            </a:r>
            <a:endParaRPr lang="en-GB" sz="300">
              <a:solidFill>
                <a:srgbClr val="000A1E"/>
              </a:solidFill>
              <a:latin typeface="Arial" panose="020B0604020202020204" pitchFamily="34" charset="0"/>
              <a:cs typeface="Arial" panose="020B0604020202020204" pitchFamily="34" charset="0"/>
            </a:endParaRPr>
          </a:p>
        </p:txBody>
      </p:sp>
      <p:sp>
        <p:nvSpPr>
          <p:cNvPr id="235" name="Rectangle 234">
            <a:extLst>
              <a:ext uri="{FF2B5EF4-FFF2-40B4-BE49-F238E27FC236}">
                <a16:creationId xmlns:a16="http://schemas.microsoft.com/office/drawing/2014/main" id="{B9ED5D92-E57C-6908-840B-3CF7F14FE31A}"/>
              </a:ext>
            </a:extLst>
          </p:cNvPr>
          <p:cNvSpPr/>
          <p:nvPr/>
        </p:nvSpPr>
        <p:spPr>
          <a:xfrm>
            <a:off x="4404515" y="2322409"/>
            <a:ext cx="3921346" cy="1436984"/>
          </a:xfrm>
          <a:prstGeom prst="rect">
            <a:avLst/>
          </a:prstGeom>
          <a:solidFill>
            <a:schemeClr val="accent1">
              <a:alpha val="30000"/>
            </a:scheme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8" name="Arrow: Down 197">
            <a:extLst>
              <a:ext uri="{FF2B5EF4-FFF2-40B4-BE49-F238E27FC236}">
                <a16:creationId xmlns:a16="http://schemas.microsoft.com/office/drawing/2014/main" id="{AC3A76C1-6D77-C1E7-1CC4-24F18C3BD5D7}"/>
              </a:ext>
            </a:extLst>
          </p:cNvPr>
          <p:cNvSpPr/>
          <p:nvPr/>
        </p:nvSpPr>
        <p:spPr>
          <a:xfrm rot="2290881">
            <a:off x="9961709" y="5100756"/>
            <a:ext cx="260975" cy="46166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9" name="Group 318">
            <a:extLst>
              <a:ext uri="{FF2B5EF4-FFF2-40B4-BE49-F238E27FC236}">
                <a16:creationId xmlns:a16="http://schemas.microsoft.com/office/drawing/2014/main" id="{1A388AE9-15A9-54AA-0855-E5B817E9736D}"/>
              </a:ext>
            </a:extLst>
          </p:cNvPr>
          <p:cNvGrpSpPr/>
          <p:nvPr/>
        </p:nvGrpSpPr>
        <p:grpSpPr>
          <a:xfrm>
            <a:off x="8753051" y="2167211"/>
            <a:ext cx="3481887" cy="1588409"/>
            <a:chOff x="8753051" y="2167211"/>
            <a:chExt cx="3481887" cy="1588409"/>
          </a:xfrm>
        </p:grpSpPr>
        <p:sp>
          <p:nvSpPr>
            <p:cNvPr id="257" name="TextBox 256">
              <a:extLst>
                <a:ext uri="{FF2B5EF4-FFF2-40B4-BE49-F238E27FC236}">
                  <a16:creationId xmlns:a16="http://schemas.microsoft.com/office/drawing/2014/main" id="{4F28A3AD-7043-DE69-996B-E453C54418F6}"/>
                </a:ext>
              </a:extLst>
            </p:cNvPr>
            <p:cNvSpPr txBox="1"/>
            <p:nvPr/>
          </p:nvSpPr>
          <p:spPr>
            <a:xfrm>
              <a:off x="11266859" y="3104448"/>
              <a:ext cx="968079"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CH</a:t>
              </a:r>
              <a:r>
                <a:rPr lang="en-GB" sz="1100" baseline="-25000">
                  <a:solidFill>
                    <a:srgbClr val="002060"/>
                  </a:solidFill>
                  <a:latin typeface="Arial Black" panose="020B0A04020102020204" pitchFamily="34" charset="0"/>
                </a:rPr>
                <a:t>2</a:t>
              </a:r>
              <a:r>
                <a:rPr lang="en-GB" sz="1100">
                  <a:solidFill>
                    <a:srgbClr val="002060"/>
                  </a:solidFill>
                  <a:latin typeface="Arial Black" panose="020B0A04020102020204" pitchFamily="34" charset="0"/>
                </a:rPr>
                <a:t>OH</a:t>
              </a:r>
            </a:p>
          </p:txBody>
        </p:sp>
        <p:grpSp>
          <p:nvGrpSpPr>
            <p:cNvPr id="318" name="Group 317">
              <a:extLst>
                <a:ext uri="{FF2B5EF4-FFF2-40B4-BE49-F238E27FC236}">
                  <a16:creationId xmlns:a16="http://schemas.microsoft.com/office/drawing/2014/main" id="{49E142E2-7BFF-6101-89CC-605122BEB7CF}"/>
                </a:ext>
              </a:extLst>
            </p:cNvPr>
            <p:cNvGrpSpPr/>
            <p:nvPr/>
          </p:nvGrpSpPr>
          <p:grpSpPr>
            <a:xfrm>
              <a:off x="8753051" y="2167211"/>
              <a:ext cx="2786844" cy="1526302"/>
              <a:chOff x="8766815" y="2262739"/>
              <a:chExt cx="2786844" cy="1526302"/>
            </a:xfrm>
          </p:grpSpPr>
          <p:sp>
            <p:nvSpPr>
              <p:cNvPr id="170" name="Hexagon 169">
                <a:extLst>
                  <a:ext uri="{FF2B5EF4-FFF2-40B4-BE49-F238E27FC236}">
                    <a16:creationId xmlns:a16="http://schemas.microsoft.com/office/drawing/2014/main" id="{DB563258-CF77-6C13-4796-A4AE58055E83}"/>
                  </a:ext>
                </a:extLst>
              </p:cNvPr>
              <p:cNvSpPr>
                <a:spLocks/>
              </p:cNvSpPr>
              <p:nvPr/>
            </p:nvSpPr>
            <p:spPr>
              <a:xfrm rot="10800000">
                <a:off x="9070635" y="2673257"/>
                <a:ext cx="978896" cy="685881"/>
              </a:xfrm>
              <a:prstGeom prst="hex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80" name="Straight Connector 179">
                <a:extLst>
                  <a:ext uri="{FF2B5EF4-FFF2-40B4-BE49-F238E27FC236}">
                    <a16:creationId xmlns:a16="http://schemas.microsoft.com/office/drawing/2014/main" id="{70DE2CCE-10C3-4D03-2319-F4C5E30EF70F}"/>
                  </a:ext>
                </a:extLst>
              </p:cNvPr>
              <p:cNvCxnSpPr>
                <a:cxnSpLocks/>
              </p:cNvCxnSpPr>
              <p:nvPr/>
            </p:nvCxnSpPr>
            <p:spPr>
              <a:xfrm flipH="1" flipV="1">
                <a:off x="10056629" y="3017385"/>
                <a:ext cx="172257" cy="16849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C5AAB7D-B5A7-B062-A6DC-283F4532CE4B}"/>
                  </a:ext>
                </a:extLst>
              </p:cNvPr>
              <p:cNvSpPr txBox="1"/>
              <p:nvPr/>
            </p:nvSpPr>
            <p:spPr>
              <a:xfrm>
                <a:off x="10045405" y="3080710"/>
                <a:ext cx="549256" cy="261610"/>
              </a:xfrm>
              <a:prstGeom prst="rect">
                <a:avLst/>
              </a:prstGeom>
              <a:noFill/>
            </p:spPr>
            <p:txBody>
              <a:bodyPr wrap="square" rtlCol="0">
                <a:spAutoFit/>
              </a:bodyPr>
              <a:lstStyle/>
              <a:p>
                <a:pPr algn="ctr"/>
                <a:r>
                  <a:rPr lang="en-GB" sz="1100">
                    <a:solidFill>
                      <a:srgbClr val="FF0000"/>
                    </a:solidFill>
                    <a:latin typeface="Arial Black" panose="020B0A04020102020204" pitchFamily="34" charset="0"/>
                  </a:rPr>
                  <a:t>O</a:t>
                </a:r>
              </a:p>
            </p:txBody>
          </p:sp>
          <p:cxnSp>
            <p:nvCxnSpPr>
              <p:cNvPr id="182" name="Straight Connector 181">
                <a:extLst>
                  <a:ext uri="{FF2B5EF4-FFF2-40B4-BE49-F238E27FC236}">
                    <a16:creationId xmlns:a16="http://schemas.microsoft.com/office/drawing/2014/main" id="{F788BF9F-7C01-AE4E-1E26-113708204571}"/>
                  </a:ext>
                </a:extLst>
              </p:cNvPr>
              <p:cNvCxnSpPr>
                <a:cxnSpLocks/>
              </p:cNvCxnSpPr>
              <p:nvPr/>
            </p:nvCxnSpPr>
            <p:spPr>
              <a:xfrm flipV="1">
                <a:off x="10403230" y="3032035"/>
                <a:ext cx="162033" cy="14842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84" name="Pentagon 183">
                <a:extLst>
                  <a:ext uri="{FF2B5EF4-FFF2-40B4-BE49-F238E27FC236}">
                    <a16:creationId xmlns:a16="http://schemas.microsoft.com/office/drawing/2014/main" id="{0C8E57F8-A8BA-9F23-031C-774320C14484}"/>
                  </a:ext>
                </a:extLst>
              </p:cNvPr>
              <p:cNvSpPr>
                <a:spLocks/>
              </p:cNvSpPr>
              <p:nvPr/>
            </p:nvSpPr>
            <p:spPr>
              <a:xfrm>
                <a:off x="10572361" y="2801314"/>
                <a:ext cx="979200" cy="623987"/>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9" name="Straight Connector 238">
                <a:extLst>
                  <a:ext uri="{FF2B5EF4-FFF2-40B4-BE49-F238E27FC236}">
                    <a16:creationId xmlns:a16="http://schemas.microsoft.com/office/drawing/2014/main" id="{373FEEC4-60FC-1436-7401-39762AF30C93}"/>
                  </a:ext>
                </a:extLst>
              </p:cNvPr>
              <p:cNvCxnSpPr>
                <a:cxnSpLocks/>
              </p:cNvCxnSpPr>
              <p:nvPr/>
            </p:nvCxnSpPr>
            <p:spPr>
              <a:xfrm flipV="1">
                <a:off x="9236579" y="2472740"/>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95ED39A-FEA3-EB55-405B-D762BD61916A}"/>
                  </a:ext>
                </a:extLst>
              </p:cNvPr>
              <p:cNvCxnSpPr>
                <a:cxnSpLocks/>
              </p:cNvCxnSpPr>
              <p:nvPr/>
            </p:nvCxnSpPr>
            <p:spPr>
              <a:xfrm flipV="1">
                <a:off x="9070635" y="3003128"/>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3A3FE032-E217-0B1F-B13B-63463E2A1588}"/>
                  </a:ext>
                </a:extLst>
              </p:cNvPr>
              <p:cNvCxnSpPr>
                <a:cxnSpLocks/>
              </p:cNvCxnSpPr>
              <p:nvPr/>
            </p:nvCxnSpPr>
            <p:spPr>
              <a:xfrm flipV="1">
                <a:off x="9239901" y="3150748"/>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2F4ED81A-1F4A-32EA-A8A8-5BC4114C3AA2}"/>
                  </a:ext>
                </a:extLst>
              </p:cNvPr>
              <p:cNvCxnSpPr>
                <a:cxnSpLocks/>
              </p:cNvCxnSpPr>
              <p:nvPr/>
            </p:nvCxnSpPr>
            <p:spPr>
              <a:xfrm flipV="1">
                <a:off x="9884272" y="3346840"/>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4B3DBE7D-7D4E-1381-6E78-84AF3B5E5D31}"/>
                  </a:ext>
                </a:extLst>
              </p:cNvPr>
              <p:cNvSpPr txBox="1"/>
              <p:nvPr/>
            </p:nvSpPr>
            <p:spPr>
              <a:xfrm>
                <a:off x="8961951" y="2262739"/>
                <a:ext cx="968079"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CH</a:t>
                </a:r>
                <a:r>
                  <a:rPr lang="en-GB" sz="1100" baseline="-25000">
                    <a:solidFill>
                      <a:srgbClr val="002060"/>
                    </a:solidFill>
                    <a:latin typeface="Arial Black" panose="020B0A04020102020204" pitchFamily="34" charset="0"/>
                  </a:rPr>
                  <a:t>2</a:t>
                </a:r>
                <a:r>
                  <a:rPr lang="en-GB" sz="1100">
                    <a:solidFill>
                      <a:srgbClr val="002060"/>
                    </a:solidFill>
                    <a:latin typeface="Arial Black" panose="020B0A04020102020204" pitchFamily="34" charset="0"/>
                  </a:rPr>
                  <a:t>OH</a:t>
                </a:r>
              </a:p>
            </p:txBody>
          </p:sp>
          <p:sp>
            <p:nvSpPr>
              <p:cNvPr id="247" name="TextBox 246">
                <a:extLst>
                  <a:ext uri="{FF2B5EF4-FFF2-40B4-BE49-F238E27FC236}">
                    <a16:creationId xmlns:a16="http://schemas.microsoft.com/office/drawing/2014/main" id="{399EA2D9-A564-A968-4F6A-1FE821F278C0}"/>
                  </a:ext>
                </a:extLst>
              </p:cNvPr>
              <p:cNvSpPr txBox="1"/>
              <p:nvPr/>
            </p:nvSpPr>
            <p:spPr>
              <a:xfrm>
                <a:off x="8766815" y="3156409"/>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HO</a:t>
                </a:r>
              </a:p>
            </p:txBody>
          </p:sp>
          <p:sp>
            <p:nvSpPr>
              <p:cNvPr id="248" name="TextBox 247">
                <a:extLst>
                  <a:ext uri="{FF2B5EF4-FFF2-40B4-BE49-F238E27FC236}">
                    <a16:creationId xmlns:a16="http://schemas.microsoft.com/office/drawing/2014/main" id="{DBDDB52C-8B61-3B78-D705-1C3BC1D2D7D5}"/>
                  </a:ext>
                </a:extLst>
              </p:cNvPr>
              <p:cNvSpPr txBox="1"/>
              <p:nvPr/>
            </p:nvSpPr>
            <p:spPr>
              <a:xfrm>
                <a:off x="9073265" y="2939846"/>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OH</a:t>
                </a:r>
              </a:p>
            </p:txBody>
          </p:sp>
          <p:sp>
            <p:nvSpPr>
              <p:cNvPr id="249" name="TextBox 248">
                <a:extLst>
                  <a:ext uri="{FF2B5EF4-FFF2-40B4-BE49-F238E27FC236}">
                    <a16:creationId xmlns:a16="http://schemas.microsoft.com/office/drawing/2014/main" id="{97C4066A-D9DA-BF2F-C9A0-41E6A8B8946D}"/>
                  </a:ext>
                </a:extLst>
              </p:cNvPr>
              <p:cNvSpPr txBox="1"/>
              <p:nvPr/>
            </p:nvSpPr>
            <p:spPr>
              <a:xfrm>
                <a:off x="9690662" y="3527431"/>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OH</a:t>
                </a:r>
              </a:p>
            </p:txBody>
          </p:sp>
          <p:cxnSp>
            <p:nvCxnSpPr>
              <p:cNvPr id="250" name="Straight Connector 249">
                <a:extLst>
                  <a:ext uri="{FF2B5EF4-FFF2-40B4-BE49-F238E27FC236}">
                    <a16:creationId xmlns:a16="http://schemas.microsoft.com/office/drawing/2014/main" id="{48ED0F79-094E-9271-5A9D-E27E6388ABD4}"/>
                  </a:ext>
                </a:extLst>
              </p:cNvPr>
              <p:cNvCxnSpPr>
                <a:cxnSpLocks/>
                <a:stCxn id="184" idx="1"/>
              </p:cNvCxnSpPr>
              <p:nvPr/>
            </p:nvCxnSpPr>
            <p:spPr>
              <a:xfrm flipH="1" flipV="1">
                <a:off x="10572361" y="2692318"/>
                <a:ext cx="1" cy="34733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51" name="TextBox 250">
                <a:extLst>
                  <a:ext uri="{FF2B5EF4-FFF2-40B4-BE49-F238E27FC236}">
                    <a16:creationId xmlns:a16="http://schemas.microsoft.com/office/drawing/2014/main" id="{BC08F7F3-D6FA-7145-A431-72B5CE6D6A43}"/>
                  </a:ext>
                </a:extLst>
              </p:cNvPr>
              <p:cNvSpPr txBox="1"/>
              <p:nvPr/>
            </p:nvSpPr>
            <p:spPr>
              <a:xfrm>
                <a:off x="10305984" y="2485710"/>
                <a:ext cx="968079"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CH</a:t>
                </a:r>
                <a:r>
                  <a:rPr lang="en-GB" sz="1100" baseline="-25000">
                    <a:solidFill>
                      <a:srgbClr val="002060"/>
                    </a:solidFill>
                    <a:latin typeface="Arial Black" panose="020B0A04020102020204" pitchFamily="34" charset="0"/>
                  </a:rPr>
                  <a:t>2</a:t>
                </a:r>
                <a:r>
                  <a:rPr lang="en-GB" sz="1100">
                    <a:solidFill>
                      <a:srgbClr val="002060"/>
                    </a:solidFill>
                    <a:latin typeface="Arial Black" panose="020B0A04020102020204" pitchFamily="34" charset="0"/>
                  </a:rPr>
                  <a:t>OH</a:t>
                </a:r>
              </a:p>
            </p:txBody>
          </p:sp>
          <p:sp>
            <p:nvSpPr>
              <p:cNvPr id="254" name="TextBox 253">
                <a:extLst>
                  <a:ext uri="{FF2B5EF4-FFF2-40B4-BE49-F238E27FC236}">
                    <a16:creationId xmlns:a16="http://schemas.microsoft.com/office/drawing/2014/main" id="{7CA45F04-BF88-D229-45DF-EF1D733B8491}"/>
                  </a:ext>
                </a:extLst>
              </p:cNvPr>
              <p:cNvSpPr txBox="1"/>
              <p:nvPr/>
            </p:nvSpPr>
            <p:spPr>
              <a:xfrm>
                <a:off x="11050966" y="3018469"/>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HO</a:t>
                </a:r>
              </a:p>
            </p:txBody>
          </p:sp>
          <p:cxnSp>
            <p:nvCxnSpPr>
              <p:cNvPr id="255" name="Straight Connector 254">
                <a:extLst>
                  <a:ext uri="{FF2B5EF4-FFF2-40B4-BE49-F238E27FC236}">
                    <a16:creationId xmlns:a16="http://schemas.microsoft.com/office/drawing/2014/main" id="{636F6AEA-93D8-25B2-A2A4-97BBF279530E}"/>
                  </a:ext>
                </a:extLst>
              </p:cNvPr>
              <p:cNvCxnSpPr>
                <a:cxnSpLocks/>
              </p:cNvCxnSpPr>
              <p:nvPr/>
            </p:nvCxnSpPr>
            <p:spPr>
              <a:xfrm flipV="1">
                <a:off x="11353198" y="3215302"/>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2C212E44-EA16-7ABF-BD51-D23AE844B22B}"/>
                  </a:ext>
                </a:extLst>
              </p:cNvPr>
              <p:cNvCxnSpPr>
                <a:cxnSpLocks/>
              </p:cNvCxnSpPr>
              <p:nvPr/>
            </p:nvCxnSpPr>
            <p:spPr>
              <a:xfrm flipV="1">
                <a:off x="11553659" y="3029162"/>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263" name="Group 262">
                <a:extLst>
                  <a:ext uri="{FF2B5EF4-FFF2-40B4-BE49-F238E27FC236}">
                    <a16:creationId xmlns:a16="http://schemas.microsoft.com/office/drawing/2014/main" id="{6EF08541-54FC-39D2-79F1-18104C9C340C}"/>
                  </a:ext>
                </a:extLst>
              </p:cNvPr>
              <p:cNvGrpSpPr/>
              <p:nvPr/>
            </p:nvGrpSpPr>
            <p:grpSpPr>
              <a:xfrm>
                <a:off x="9680103" y="2597217"/>
                <a:ext cx="444135" cy="261610"/>
                <a:chOff x="7661947" y="2841841"/>
                <a:chExt cx="444135" cy="261610"/>
              </a:xfrm>
            </p:grpSpPr>
            <p:sp>
              <p:nvSpPr>
                <p:cNvPr id="267" name="Rectangle 266">
                  <a:extLst>
                    <a:ext uri="{FF2B5EF4-FFF2-40B4-BE49-F238E27FC236}">
                      <a16:creationId xmlns:a16="http://schemas.microsoft.com/office/drawing/2014/main" id="{08A74DD0-DDD7-D19A-35AF-DD88255A0128}"/>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268" name="TextBox 267">
                  <a:extLst>
                    <a:ext uri="{FF2B5EF4-FFF2-40B4-BE49-F238E27FC236}">
                      <a16:creationId xmlns:a16="http://schemas.microsoft.com/office/drawing/2014/main" id="{B7CDBE28-4416-53AE-866B-D6A911812AE6}"/>
                    </a:ext>
                  </a:extLst>
                </p:cNvPr>
                <p:cNvSpPr txBox="1"/>
                <p:nvPr/>
              </p:nvSpPr>
              <p:spPr>
                <a:xfrm>
                  <a:off x="7661947" y="2841841"/>
                  <a:ext cx="444135" cy="261610"/>
                </a:xfrm>
                <a:prstGeom prst="rect">
                  <a:avLst/>
                </a:prstGeom>
                <a:noFill/>
              </p:spPr>
              <p:txBody>
                <a:bodyPr wrap="square" rtlCol="0" anchor="ctr">
                  <a:spAutoFit/>
                </a:bodyPr>
                <a:lstStyle/>
                <a:p>
                  <a:pPr algn="ctr"/>
                  <a:r>
                    <a:rPr lang="en-GB" sz="1100">
                      <a:solidFill>
                        <a:srgbClr val="002060"/>
                      </a:solidFill>
                      <a:latin typeface="Arial Black" panose="020B0A04020102020204" pitchFamily="34" charset="0"/>
                    </a:rPr>
                    <a:t>O</a:t>
                  </a:r>
                </a:p>
              </p:txBody>
            </p:sp>
          </p:grpSp>
          <p:grpSp>
            <p:nvGrpSpPr>
              <p:cNvPr id="269" name="Group 268">
                <a:extLst>
                  <a:ext uri="{FF2B5EF4-FFF2-40B4-BE49-F238E27FC236}">
                    <a16:creationId xmlns:a16="http://schemas.microsoft.com/office/drawing/2014/main" id="{F9307EFC-5ABE-8106-E3FC-D0A214ED52D1}"/>
                  </a:ext>
                </a:extLst>
              </p:cNvPr>
              <p:cNvGrpSpPr/>
              <p:nvPr/>
            </p:nvGrpSpPr>
            <p:grpSpPr>
              <a:xfrm>
                <a:off x="10856116" y="2706515"/>
                <a:ext cx="444135" cy="261610"/>
                <a:chOff x="7661947" y="2841841"/>
                <a:chExt cx="444135" cy="261610"/>
              </a:xfrm>
            </p:grpSpPr>
            <p:sp>
              <p:nvSpPr>
                <p:cNvPr id="270" name="Rectangle 269">
                  <a:extLst>
                    <a:ext uri="{FF2B5EF4-FFF2-40B4-BE49-F238E27FC236}">
                      <a16:creationId xmlns:a16="http://schemas.microsoft.com/office/drawing/2014/main" id="{DE51137E-C74A-D49A-924B-872A0BA8CC84}"/>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271" name="TextBox 270">
                  <a:extLst>
                    <a:ext uri="{FF2B5EF4-FFF2-40B4-BE49-F238E27FC236}">
                      <a16:creationId xmlns:a16="http://schemas.microsoft.com/office/drawing/2014/main" id="{0B55756E-7341-9B6D-F37D-F1FA965E45B4}"/>
                    </a:ext>
                  </a:extLst>
                </p:cNvPr>
                <p:cNvSpPr txBox="1"/>
                <p:nvPr/>
              </p:nvSpPr>
              <p:spPr>
                <a:xfrm>
                  <a:off x="7661947" y="2841841"/>
                  <a:ext cx="444135" cy="261610"/>
                </a:xfrm>
                <a:prstGeom prst="rect">
                  <a:avLst/>
                </a:prstGeom>
                <a:noFill/>
              </p:spPr>
              <p:txBody>
                <a:bodyPr wrap="square" rtlCol="0" anchor="ctr">
                  <a:spAutoFit/>
                </a:bodyPr>
                <a:lstStyle/>
                <a:p>
                  <a:pPr algn="ctr"/>
                  <a:r>
                    <a:rPr lang="en-GB" sz="1100">
                      <a:solidFill>
                        <a:srgbClr val="002060"/>
                      </a:solidFill>
                      <a:latin typeface="Arial Black" panose="020B0A04020102020204" pitchFamily="34" charset="0"/>
                    </a:rPr>
                    <a:t>O</a:t>
                  </a:r>
                </a:p>
              </p:txBody>
            </p:sp>
          </p:grpSp>
          <p:cxnSp>
            <p:nvCxnSpPr>
              <p:cNvPr id="274" name="Straight Connector 273">
                <a:extLst>
                  <a:ext uri="{FF2B5EF4-FFF2-40B4-BE49-F238E27FC236}">
                    <a16:creationId xmlns:a16="http://schemas.microsoft.com/office/drawing/2014/main" id="{3AA7464B-FAB6-68C5-FA66-870996347CA9}"/>
                  </a:ext>
                </a:extLst>
              </p:cNvPr>
              <p:cNvCxnSpPr>
                <a:cxnSpLocks/>
              </p:cNvCxnSpPr>
              <p:nvPr/>
            </p:nvCxnSpPr>
            <p:spPr>
              <a:xfrm flipV="1">
                <a:off x="10769336" y="3426401"/>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275" name="TextBox 274">
              <a:extLst>
                <a:ext uri="{FF2B5EF4-FFF2-40B4-BE49-F238E27FC236}">
                  <a16:creationId xmlns:a16="http://schemas.microsoft.com/office/drawing/2014/main" id="{9A617DB8-8004-9849-D55C-AACF3F5D6729}"/>
                </a:ext>
              </a:extLst>
            </p:cNvPr>
            <p:cNvSpPr txBox="1"/>
            <p:nvPr/>
          </p:nvSpPr>
          <p:spPr>
            <a:xfrm>
              <a:off x="10578505" y="3494010"/>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OH</a:t>
              </a:r>
            </a:p>
          </p:txBody>
        </p:sp>
      </p:grpSp>
      <p:sp>
        <p:nvSpPr>
          <p:cNvPr id="302" name="Hexagon 301">
            <a:extLst>
              <a:ext uri="{FF2B5EF4-FFF2-40B4-BE49-F238E27FC236}">
                <a16:creationId xmlns:a16="http://schemas.microsoft.com/office/drawing/2014/main" id="{E0F809BA-1060-A600-8A11-C801F45363BE}"/>
              </a:ext>
            </a:extLst>
          </p:cNvPr>
          <p:cNvSpPr>
            <a:spLocks/>
          </p:cNvSpPr>
          <p:nvPr/>
        </p:nvSpPr>
        <p:spPr>
          <a:xfrm rot="10800000">
            <a:off x="8977793" y="4183031"/>
            <a:ext cx="978896" cy="685881"/>
          </a:xfrm>
          <a:prstGeom prst="hex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04" name="Straight Connector 303">
            <a:extLst>
              <a:ext uri="{FF2B5EF4-FFF2-40B4-BE49-F238E27FC236}">
                <a16:creationId xmlns:a16="http://schemas.microsoft.com/office/drawing/2014/main" id="{7E0679BD-5D21-927A-469B-155509688A11}"/>
              </a:ext>
            </a:extLst>
          </p:cNvPr>
          <p:cNvCxnSpPr>
            <a:cxnSpLocks/>
          </p:cNvCxnSpPr>
          <p:nvPr/>
        </p:nvCxnSpPr>
        <p:spPr>
          <a:xfrm flipV="1">
            <a:off x="9143737" y="3982514"/>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244D46EC-768F-C9C0-ADCF-6A67AD57630E}"/>
              </a:ext>
            </a:extLst>
          </p:cNvPr>
          <p:cNvCxnSpPr>
            <a:cxnSpLocks/>
          </p:cNvCxnSpPr>
          <p:nvPr/>
        </p:nvCxnSpPr>
        <p:spPr>
          <a:xfrm flipV="1">
            <a:off x="8977793" y="4512902"/>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A6AA15C7-2A61-700D-A760-43E53160C13B}"/>
              </a:ext>
            </a:extLst>
          </p:cNvPr>
          <p:cNvCxnSpPr>
            <a:cxnSpLocks/>
          </p:cNvCxnSpPr>
          <p:nvPr/>
        </p:nvCxnSpPr>
        <p:spPr>
          <a:xfrm flipV="1">
            <a:off x="9147059" y="4660522"/>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2DF36239-3A90-BECA-3328-47438C8CA40D}"/>
              </a:ext>
            </a:extLst>
          </p:cNvPr>
          <p:cNvCxnSpPr>
            <a:cxnSpLocks/>
          </p:cNvCxnSpPr>
          <p:nvPr/>
        </p:nvCxnSpPr>
        <p:spPr>
          <a:xfrm flipV="1">
            <a:off x="9782377" y="4856614"/>
            <a:ext cx="0" cy="136356"/>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08" name="TextBox 307">
            <a:extLst>
              <a:ext uri="{FF2B5EF4-FFF2-40B4-BE49-F238E27FC236}">
                <a16:creationId xmlns:a16="http://schemas.microsoft.com/office/drawing/2014/main" id="{D0229F39-CBE8-165D-E882-ECBC5069E44A}"/>
              </a:ext>
            </a:extLst>
          </p:cNvPr>
          <p:cNvSpPr txBox="1"/>
          <p:nvPr/>
        </p:nvSpPr>
        <p:spPr>
          <a:xfrm>
            <a:off x="8869109" y="3772513"/>
            <a:ext cx="968079"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CH</a:t>
            </a:r>
            <a:r>
              <a:rPr lang="en-GB" sz="1100" baseline="-25000">
                <a:solidFill>
                  <a:srgbClr val="002060"/>
                </a:solidFill>
                <a:latin typeface="Arial Black" panose="020B0A04020102020204" pitchFamily="34" charset="0"/>
              </a:rPr>
              <a:t>2</a:t>
            </a:r>
            <a:r>
              <a:rPr lang="en-GB" sz="1100">
                <a:solidFill>
                  <a:srgbClr val="002060"/>
                </a:solidFill>
                <a:latin typeface="Arial Black" panose="020B0A04020102020204" pitchFamily="34" charset="0"/>
              </a:rPr>
              <a:t>OH</a:t>
            </a:r>
          </a:p>
        </p:txBody>
      </p:sp>
      <p:sp>
        <p:nvSpPr>
          <p:cNvPr id="309" name="TextBox 308">
            <a:extLst>
              <a:ext uri="{FF2B5EF4-FFF2-40B4-BE49-F238E27FC236}">
                <a16:creationId xmlns:a16="http://schemas.microsoft.com/office/drawing/2014/main" id="{6AB706FA-3F18-A2F5-B58E-AE4EB2D6D39B}"/>
              </a:ext>
            </a:extLst>
          </p:cNvPr>
          <p:cNvSpPr txBox="1"/>
          <p:nvPr/>
        </p:nvSpPr>
        <p:spPr>
          <a:xfrm>
            <a:off x="8673973" y="4666183"/>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HO</a:t>
            </a:r>
          </a:p>
        </p:txBody>
      </p:sp>
      <p:sp>
        <p:nvSpPr>
          <p:cNvPr id="310" name="TextBox 309">
            <a:extLst>
              <a:ext uri="{FF2B5EF4-FFF2-40B4-BE49-F238E27FC236}">
                <a16:creationId xmlns:a16="http://schemas.microsoft.com/office/drawing/2014/main" id="{8792E796-CEDB-491C-1CF4-574B6A510E5B}"/>
              </a:ext>
            </a:extLst>
          </p:cNvPr>
          <p:cNvSpPr txBox="1"/>
          <p:nvPr/>
        </p:nvSpPr>
        <p:spPr>
          <a:xfrm>
            <a:off x="8980423" y="4449620"/>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OH</a:t>
            </a:r>
          </a:p>
        </p:txBody>
      </p:sp>
      <p:sp>
        <p:nvSpPr>
          <p:cNvPr id="311" name="TextBox 310">
            <a:extLst>
              <a:ext uri="{FF2B5EF4-FFF2-40B4-BE49-F238E27FC236}">
                <a16:creationId xmlns:a16="http://schemas.microsoft.com/office/drawing/2014/main" id="{D36D3758-CEFE-2673-1F03-9DBA034A5431}"/>
              </a:ext>
            </a:extLst>
          </p:cNvPr>
          <p:cNvSpPr txBox="1"/>
          <p:nvPr/>
        </p:nvSpPr>
        <p:spPr>
          <a:xfrm>
            <a:off x="9614283" y="4935628"/>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OH</a:t>
            </a:r>
          </a:p>
        </p:txBody>
      </p:sp>
      <p:grpSp>
        <p:nvGrpSpPr>
          <p:cNvPr id="312" name="Group 311">
            <a:extLst>
              <a:ext uri="{FF2B5EF4-FFF2-40B4-BE49-F238E27FC236}">
                <a16:creationId xmlns:a16="http://schemas.microsoft.com/office/drawing/2014/main" id="{18D0707F-2208-1C07-7F28-A9373300C771}"/>
              </a:ext>
            </a:extLst>
          </p:cNvPr>
          <p:cNvGrpSpPr/>
          <p:nvPr/>
        </p:nvGrpSpPr>
        <p:grpSpPr>
          <a:xfrm>
            <a:off x="9587261" y="4106991"/>
            <a:ext cx="444135" cy="261610"/>
            <a:chOff x="7661947" y="2841841"/>
            <a:chExt cx="444135" cy="261610"/>
          </a:xfrm>
        </p:grpSpPr>
        <p:sp>
          <p:nvSpPr>
            <p:cNvPr id="313" name="Rectangle 312">
              <a:extLst>
                <a:ext uri="{FF2B5EF4-FFF2-40B4-BE49-F238E27FC236}">
                  <a16:creationId xmlns:a16="http://schemas.microsoft.com/office/drawing/2014/main" id="{E0E65D5D-B35D-411B-B435-0E0988652600}"/>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314" name="TextBox 313">
              <a:extLst>
                <a:ext uri="{FF2B5EF4-FFF2-40B4-BE49-F238E27FC236}">
                  <a16:creationId xmlns:a16="http://schemas.microsoft.com/office/drawing/2014/main" id="{0E188E07-FB4F-0275-CFF0-3BC1D0C506F7}"/>
                </a:ext>
              </a:extLst>
            </p:cNvPr>
            <p:cNvSpPr txBox="1"/>
            <p:nvPr/>
          </p:nvSpPr>
          <p:spPr>
            <a:xfrm>
              <a:off x="7661947" y="2841841"/>
              <a:ext cx="444135" cy="261610"/>
            </a:xfrm>
            <a:prstGeom prst="rect">
              <a:avLst/>
            </a:prstGeom>
            <a:noFill/>
          </p:spPr>
          <p:txBody>
            <a:bodyPr wrap="square" rtlCol="0" anchor="ctr">
              <a:spAutoFit/>
            </a:bodyPr>
            <a:lstStyle/>
            <a:p>
              <a:pPr algn="ctr"/>
              <a:r>
                <a:rPr lang="en-GB" sz="1100">
                  <a:solidFill>
                    <a:srgbClr val="002060"/>
                  </a:solidFill>
                  <a:latin typeface="Arial Black" panose="020B0A04020102020204" pitchFamily="34" charset="0"/>
                </a:rPr>
                <a:t>O</a:t>
              </a:r>
            </a:p>
          </p:txBody>
        </p:sp>
      </p:grpSp>
      <p:grpSp>
        <p:nvGrpSpPr>
          <p:cNvPr id="320" name="Group 319">
            <a:extLst>
              <a:ext uri="{FF2B5EF4-FFF2-40B4-BE49-F238E27FC236}">
                <a16:creationId xmlns:a16="http://schemas.microsoft.com/office/drawing/2014/main" id="{88A8F43F-FD71-FA9E-5C98-53850C4587E7}"/>
              </a:ext>
            </a:extLst>
          </p:cNvPr>
          <p:cNvGrpSpPr/>
          <p:nvPr/>
        </p:nvGrpSpPr>
        <p:grpSpPr>
          <a:xfrm>
            <a:off x="10243680" y="4061563"/>
            <a:ext cx="1996580" cy="1135878"/>
            <a:chOff x="10255468" y="2537949"/>
            <a:chExt cx="1996580" cy="1135878"/>
          </a:xfrm>
        </p:grpSpPr>
        <p:sp>
          <p:nvSpPr>
            <p:cNvPr id="321" name="TextBox 320">
              <a:extLst>
                <a:ext uri="{FF2B5EF4-FFF2-40B4-BE49-F238E27FC236}">
                  <a16:creationId xmlns:a16="http://schemas.microsoft.com/office/drawing/2014/main" id="{A03001EA-1FBF-1AD1-F9AC-BA04A97689C9}"/>
                </a:ext>
              </a:extLst>
            </p:cNvPr>
            <p:cNvSpPr txBox="1"/>
            <p:nvPr/>
          </p:nvSpPr>
          <p:spPr>
            <a:xfrm>
              <a:off x="11283969" y="3112071"/>
              <a:ext cx="968079"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CH</a:t>
              </a:r>
              <a:r>
                <a:rPr lang="en-GB" sz="1100" baseline="-25000">
                  <a:solidFill>
                    <a:srgbClr val="002060"/>
                  </a:solidFill>
                  <a:latin typeface="Arial Black" panose="020B0A04020102020204" pitchFamily="34" charset="0"/>
                </a:rPr>
                <a:t>2</a:t>
              </a:r>
              <a:r>
                <a:rPr lang="en-GB" sz="1100">
                  <a:solidFill>
                    <a:srgbClr val="002060"/>
                  </a:solidFill>
                  <a:latin typeface="Arial Black" panose="020B0A04020102020204" pitchFamily="34" charset="0"/>
                </a:rPr>
                <a:t>OH</a:t>
              </a:r>
            </a:p>
          </p:txBody>
        </p:sp>
        <p:grpSp>
          <p:nvGrpSpPr>
            <p:cNvPr id="322" name="Group 321">
              <a:extLst>
                <a:ext uri="{FF2B5EF4-FFF2-40B4-BE49-F238E27FC236}">
                  <a16:creationId xmlns:a16="http://schemas.microsoft.com/office/drawing/2014/main" id="{87101C88-045F-4B79-23F8-DE51C348B6B8}"/>
                </a:ext>
              </a:extLst>
            </p:cNvPr>
            <p:cNvGrpSpPr/>
            <p:nvPr/>
          </p:nvGrpSpPr>
          <p:grpSpPr>
            <a:xfrm>
              <a:off x="10255468" y="2537949"/>
              <a:ext cx="1284427" cy="920198"/>
              <a:chOff x="10269232" y="2633477"/>
              <a:chExt cx="1284427" cy="920198"/>
            </a:xfrm>
          </p:grpSpPr>
          <p:sp>
            <p:nvSpPr>
              <p:cNvPr id="328" name="Pentagon 327">
                <a:extLst>
                  <a:ext uri="{FF2B5EF4-FFF2-40B4-BE49-F238E27FC236}">
                    <a16:creationId xmlns:a16="http://schemas.microsoft.com/office/drawing/2014/main" id="{D29C3526-2DD6-4B01-156A-50F41BDF3609}"/>
                  </a:ext>
                </a:extLst>
              </p:cNvPr>
              <p:cNvSpPr>
                <a:spLocks/>
              </p:cNvSpPr>
              <p:nvPr/>
            </p:nvSpPr>
            <p:spPr>
              <a:xfrm>
                <a:off x="10572361" y="2801314"/>
                <a:ext cx="979200" cy="623987"/>
              </a:xfrm>
              <a:prstGeom prst="pentagon">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37" name="Straight Connector 336">
                <a:extLst>
                  <a:ext uri="{FF2B5EF4-FFF2-40B4-BE49-F238E27FC236}">
                    <a16:creationId xmlns:a16="http://schemas.microsoft.com/office/drawing/2014/main" id="{F8C0AFAD-B699-CCDE-6FF3-2C065FCF127E}"/>
                  </a:ext>
                </a:extLst>
              </p:cNvPr>
              <p:cNvCxnSpPr>
                <a:cxnSpLocks/>
                <a:stCxn id="328" idx="1"/>
              </p:cNvCxnSpPr>
              <p:nvPr/>
            </p:nvCxnSpPr>
            <p:spPr>
              <a:xfrm flipV="1">
                <a:off x="10572362" y="2861113"/>
                <a:ext cx="0" cy="17854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39" name="TextBox 338">
                <a:extLst>
                  <a:ext uri="{FF2B5EF4-FFF2-40B4-BE49-F238E27FC236}">
                    <a16:creationId xmlns:a16="http://schemas.microsoft.com/office/drawing/2014/main" id="{F47124CC-7ADE-8A04-8C26-AD82700A6916}"/>
                  </a:ext>
                </a:extLst>
              </p:cNvPr>
              <p:cNvSpPr txBox="1"/>
              <p:nvPr/>
            </p:nvSpPr>
            <p:spPr>
              <a:xfrm>
                <a:off x="11050966" y="3018469"/>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HO</a:t>
                </a:r>
              </a:p>
            </p:txBody>
          </p:sp>
          <p:cxnSp>
            <p:nvCxnSpPr>
              <p:cNvPr id="340" name="Straight Connector 339">
                <a:extLst>
                  <a:ext uri="{FF2B5EF4-FFF2-40B4-BE49-F238E27FC236}">
                    <a16:creationId xmlns:a16="http://schemas.microsoft.com/office/drawing/2014/main" id="{54D61CFB-E0F4-8297-CF2D-CD32F19319C6}"/>
                  </a:ext>
                </a:extLst>
              </p:cNvPr>
              <p:cNvCxnSpPr>
                <a:cxnSpLocks/>
              </p:cNvCxnSpPr>
              <p:nvPr/>
            </p:nvCxnSpPr>
            <p:spPr>
              <a:xfrm flipV="1">
                <a:off x="11353198" y="3215302"/>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ACE254F4-F333-5922-2C43-DD473B567661}"/>
                  </a:ext>
                </a:extLst>
              </p:cNvPr>
              <p:cNvCxnSpPr>
                <a:cxnSpLocks/>
              </p:cNvCxnSpPr>
              <p:nvPr/>
            </p:nvCxnSpPr>
            <p:spPr>
              <a:xfrm flipV="1">
                <a:off x="11553659" y="3029162"/>
                <a:ext cx="0" cy="2167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343" name="Group 342">
                <a:extLst>
                  <a:ext uri="{FF2B5EF4-FFF2-40B4-BE49-F238E27FC236}">
                    <a16:creationId xmlns:a16="http://schemas.microsoft.com/office/drawing/2014/main" id="{2A06E12D-0D77-60C5-C2B8-005543D9185C}"/>
                  </a:ext>
                </a:extLst>
              </p:cNvPr>
              <p:cNvGrpSpPr/>
              <p:nvPr/>
            </p:nvGrpSpPr>
            <p:grpSpPr>
              <a:xfrm>
                <a:off x="10856116" y="2706515"/>
                <a:ext cx="444135" cy="261610"/>
                <a:chOff x="7661947" y="2841841"/>
                <a:chExt cx="444135" cy="261610"/>
              </a:xfrm>
            </p:grpSpPr>
            <p:sp>
              <p:nvSpPr>
                <p:cNvPr id="345" name="Rectangle 344">
                  <a:extLst>
                    <a:ext uri="{FF2B5EF4-FFF2-40B4-BE49-F238E27FC236}">
                      <a16:creationId xmlns:a16="http://schemas.microsoft.com/office/drawing/2014/main" id="{646C23D1-69A9-7DF8-9686-58561D7F54F1}"/>
                    </a:ext>
                  </a:extLst>
                </p:cNvPr>
                <p:cNvSpPr/>
                <p:nvPr/>
              </p:nvSpPr>
              <p:spPr>
                <a:xfrm>
                  <a:off x="7794014" y="2882646"/>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346" name="TextBox 345">
                  <a:extLst>
                    <a:ext uri="{FF2B5EF4-FFF2-40B4-BE49-F238E27FC236}">
                      <a16:creationId xmlns:a16="http://schemas.microsoft.com/office/drawing/2014/main" id="{1C0C96FB-5892-96C8-0BEE-FDC7AFFD54D0}"/>
                    </a:ext>
                  </a:extLst>
                </p:cNvPr>
                <p:cNvSpPr txBox="1"/>
                <p:nvPr/>
              </p:nvSpPr>
              <p:spPr>
                <a:xfrm>
                  <a:off x="7661947" y="2841841"/>
                  <a:ext cx="444135" cy="261610"/>
                </a:xfrm>
                <a:prstGeom prst="rect">
                  <a:avLst/>
                </a:prstGeom>
                <a:noFill/>
              </p:spPr>
              <p:txBody>
                <a:bodyPr wrap="square" rtlCol="0" anchor="ctr">
                  <a:spAutoFit/>
                </a:bodyPr>
                <a:lstStyle/>
                <a:p>
                  <a:pPr algn="ctr"/>
                  <a:r>
                    <a:rPr lang="en-GB" sz="1100">
                      <a:solidFill>
                        <a:srgbClr val="002060"/>
                      </a:solidFill>
                      <a:latin typeface="Arial Black" panose="020B0A04020102020204" pitchFamily="34" charset="0"/>
                    </a:rPr>
                    <a:t>O</a:t>
                  </a:r>
                </a:p>
              </p:txBody>
            </p:sp>
          </p:grpSp>
          <p:cxnSp>
            <p:nvCxnSpPr>
              <p:cNvPr id="344" name="Straight Connector 343">
                <a:extLst>
                  <a:ext uri="{FF2B5EF4-FFF2-40B4-BE49-F238E27FC236}">
                    <a16:creationId xmlns:a16="http://schemas.microsoft.com/office/drawing/2014/main" id="{786C7EFB-1185-53DB-69CF-E7BB565ED160}"/>
                  </a:ext>
                </a:extLst>
              </p:cNvPr>
              <p:cNvCxnSpPr>
                <a:cxnSpLocks/>
              </p:cNvCxnSpPr>
              <p:nvPr/>
            </p:nvCxnSpPr>
            <p:spPr>
              <a:xfrm flipV="1">
                <a:off x="10765325" y="3426401"/>
                <a:ext cx="0" cy="12727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BB755DC2-EFF5-6C38-9E63-B0D5A9D38F67}"/>
                  </a:ext>
                </a:extLst>
              </p:cNvPr>
              <p:cNvSpPr txBox="1"/>
              <p:nvPr/>
            </p:nvSpPr>
            <p:spPr>
              <a:xfrm>
                <a:off x="10269232" y="2633477"/>
                <a:ext cx="968079"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CH</a:t>
                </a:r>
                <a:r>
                  <a:rPr lang="en-GB" sz="1100" baseline="-25000">
                    <a:solidFill>
                      <a:srgbClr val="002060"/>
                    </a:solidFill>
                    <a:latin typeface="Arial Black" panose="020B0A04020102020204" pitchFamily="34" charset="0"/>
                  </a:rPr>
                  <a:t>2</a:t>
                </a:r>
                <a:r>
                  <a:rPr lang="en-GB" sz="1100">
                    <a:solidFill>
                      <a:srgbClr val="002060"/>
                    </a:solidFill>
                    <a:latin typeface="Arial Black" panose="020B0A04020102020204" pitchFamily="34" charset="0"/>
                  </a:rPr>
                  <a:t>OH</a:t>
                </a:r>
              </a:p>
            </p:txBody>
          </p:sp>
        </p:grpSp>
        <p:sp>
          <p:nvSpPr>
            <p:cNvPr id="323" name="TextBox 322">
              <a:extLst>
                <a:ext uri="{FF2B5EF4-FFF2-40B4-BE49-F238E27FC236}">
                  <a16:creationId xmlns:a16="http://schemas.microsoft.com/office/drawing/2014/main" id="{448D22D5-AFF1-A4C3-40C1-7E2E67224501}"/>
                </a:ext>
              </a:extLst>
            </p:cNvPr>
            <p:cNvSpPr txBox="1"/>
            <p:nvPr/>
          </p:nvSpPr>
          <p:spPr>
            <a:xfrm>
              <a:off x="10565809" y="3412217"/>
              <a:ext cx="493535" cy="261610"/>
            </a:xfrm>
            <a:prstGeom prst="rect">
              <a:avLst/>
            </a:prstGeom>
            <a:noFill/>
          </p:spPr>
          <p:txBody>
            <a:bodyPr wrap="square" rtlCol="0">
              <a:spAutoFit/>
            </a:bodyPr>
            <a:lstStyle/>
            <a:p>
              <a:pPr algn="ctr"/>
              <a:r>
                <a:rPr lang="en-GB" sz="1100">
                  <a:solidFill>
                    <a:srgbClr val="002060"/>
                  </a:solidFill>
                  <a:latin typeface="Arial Black" panose="020B0A04020102020204" pitchFamily="34" charset="0"/>
                </a:rPr>
                <a:t>OH</a:t>
              </a:r>
            </a:p>
          </p:txBody>
        </p:sp>
      </p:grpSp>
      <p:sp>
        <p:nvSpPr>
          <p:cNvPr id="236" name="Rectangle 235">
            <a:extLst>
              <a:ext uri="{FF2B5EF4-FFF2-40B4-BE49-F238E27FC236}">
                <a16:creationId xmlns:a16="http://schemas.microsoft.com/office/drawing/2014/main" id="{12ED0974-ED88-5F8D-926A-EF66DAE6BD37}"/>
              </a:ext>
            </a:extLst>
          </p:cNvPr>
          <p:cNvSpPr/>
          <p:nvPr/>
        </p:nvSpPr>
        <p:spPr>
          <a:xfrm>
            <a:off x="10516752" y="5183358"/>
            <a:ext cx="1450436" cy="1318435"/>
          </a:xfrm>
          <a:prstGeom prst="rect">
            <a:avLst/>
          </a:prstGeom>
          <a:solidFill>
            <a:schemeClr val="accent1">
              <a:alpha val="30000"/>
            </a:scheme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8" name="Arrow: Down 237">
            <a:extLst>
              <a:ext uri="{FF2B5EF4-FFF2-40B4-BE49-F238E27FC236}">
                <a16:creationId xmlns:a16="http://schemas.microsoft.com/office/drawing/2014/main" id="{6F513203-F570-182E-5DCB-A465A7194D46}"/>
              </a:ext>
            </a:extLst>
          </p:cNvPr>
          <p:cNvSpPr/>
          <p:nvPr/>
        </p:nvSpPr>
        <p:spPr>
          <a:xfrm rot="19309119" flipH="1">
            <a:off x="10458622" y="5097148"/>
            <a:ext cx="260975" cy="46166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46763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B1D9-E25C-F40A-522B-54113616FBDB}"/>
              </a:ext>
            </a:extLst>
          </p:cNvPr>
          <p:cNvSpPr>
            <a:spLocks noGrp="1"/>
          </p:cNvSpPr>
          <p:nvPr>
            <p:ph type="ctrTitle"/>
          </p:nvPr>
        </p:nvSpPr>
        <p:spPr/>
        <p:txBody>
          <a:bodyPr/>
          <a:lstStyle/>
          <a:p>
            <a:r>
              <a:rPr lang="en-US">
                <a:latin typeface="Arial"/>
                <a:cs typeface="Arial"/>
              </a:rPr>
              <a:t>Non-enzymic browning - activities</a:t>
            </a:r>
            <a:endParaRPr lang="en-US"/>
          </a:p>
        </p:txBody>
      </p:sp>
      <p:sp>
        <p:nvSpPr>
          <p:cNvPr id="3" name="Subtitle 2">
            <a:extLst>
              <a:ext uri="{FF2B5EF4-FFF2-40B4-BE49-F238E27FC236}">
                <a16:creationId xmlns:a16="http://schemas.microsoft.com/office/drawing/2014/main" id="{8CAB9D22-B491-9AFA-4800-DD173F69AF8D}"/>
              </a:ext>
            </a:extLst>
          </p:cNvPr>
          <p:cNvSpPr>
            <a:spLocks noGrp="1"/>
          </p:cNvSpPr>
          <p:nvPr>
            <p:ph type="subTitle" idx="1"/>
          </p:nvPr>
        </p:nvSpPr>
        <p:spPr>
          <a:xfrm>
            <a:off x="1169274" y="2390023"/>
            <a:ext cx="9720000" cy="3600000"/>
          </a:xfrm>
        </p:spPr>
        <p:txBody>
          <a:bodyPr/>
          <a:lstStyle/>
          <a:p>
            <a:r>
              <a:rPr lang="en-GB">
                <a:latin typeface="Arial"/>
                <a:cs typeface="Arial"/>
                <a:hlinkClick r:id="rId2"/>
              </a:rPr>
              <a:t>The Maillard reaction worksheet</a:t>
            </a:r>
            <a:r>
              <a:rPr lang="en-GB">
                <a:latin typeface="Arial"/>
                <a:cs typeface="Arial"/>
              </a:rPr>
              <a:t> – Explore the Maillard reaction with this simple experiment.</a:t>
            </a:r>
          </a:p>
          <a:p>
            <a:r>
              <a:rPr lang="en-GB">
                <a:latin typeface="Arial"/>
                <a:cs typeface="Arial"/>
                <a:hlinkClick r:id="rId3"/>
              </a:rPr>
              <a:t>The science of red meat presentation </a:t>
            </a:r>
            <a:r>
              <a:rPr lang="en-GB">
                <a:latin typeface="Arial"/>
                <a:cs typeface="Arial"/>
              </a:rPr>
              <a:t>– this explores browning and other aspects of cooking red meat.</a:t>
            </a:r>
          </a:p>
          <a:p>
            <a:r>
              <a:rPr lang="en-GB">
                <a:latin typeface="Arial"/>
                <a:cs typeface="Arial"/>
                <a:hlinkClick r:id="rId4"/>
              </a:rPr>
              <a:t>Dry heat presentation </a:t>
            </a:r>
            <a:r>
              <a:rPr lang="en-GB">
                <a:latin typeface="Arial"/>
                <a:cs typeface="Arial"/>
              </a:rPr>
              <a:t>– This presentation explores </a:t>
            </a:r>
            <a:r>
              <a:rPr lang="en-GB" err="1">
                <a:latin typeface="Arial"/>
                <a:cs typeface="Arial"/>
              </a:rPr>
              <a:t>dextrinisation</a:t>
            </a:r>
            <a:r>
              <a:rPr lang="en-GB">
                <a:latin typeface="Arial"/>
                <a:cs typeface="Arial"/>
              </a:rPr>
              <a:t> and asks pupils to identify foods that brown when heated.</a:t>
            </a:r>
          </a:p>
          <a:p>
            <a:r>
              <a:rPr lang="en-GB">
                <a:cs typeface="Arial"/>
                <a:hlinkClick r:id="rId5"/>
              </a:rPr>
              <a:t>Caramelisation worksheet </a:t>
            </a:r>
            <a:r>
              <a:rPr lang="en-GB">
                <a:cs typeface="Arial"/>
              </a:rPr>
              <a:t>– This worksheet demonstrates how sugars caramelise over time.</a:t>
            </a:r>
            <a:endParaRPr lang="en-GB"/>
          </a:p>
          <a:p>
            <a:pPr marL="342900" indent="-342900"/>
            <a:r>
              <a:rPr lang="en-GB"/>
              <a:t>Refer to the </a:t>
            </a:r>
            <a:r>
              <a:rPr lang="en-GB">
                <a:hlinkClick r:id="rId6"/>
              </a:rPr>
              <a:t>Functional properties of food overview</a:t>
            </a:r>
            <a:r>
              <a:rPr lang="en-GB"/>
              <a:t> for a brief overview of these topics and others.</a:t>
            </a:r>
          </a:p>
          <a:p>
            <a:pPr marL="342900" indent="-342900"/>
            <a:r>
              <a:rPr lang="en-GB"/>
              <a:t>Use the Carbohydrates and their functional properties </a:t>
            </a:r>
            <a:r>
              <a:rPr lang="en-GB">
                <a:hlinkClick r:id="rId7"/>
              </a:rPr>
              <a:t>presentation</a:t>
            </a:r>
            <a:r>
              <a:rPr lang="en-GB"/>
              <a:t> and </a:t>
            </a:r>
            <a:r>
              <a:rPr lang="en-GB">
                <a:hlinkClick r:id="rId8"/>
              </a:rPr>
              <a:t>worksheet</a:t>
            </a:r>
            <a:r>
              <a:rPr lang="en-GB"/>
              <a:t> to investigate non-enzymic browning alongside other carbohydrate food science.</a:t>
            </a:r>
          </a:p>
          <a:p>
            <a:pPr marL="0" indent="0">
              <a:buNone/>
            </a:pPr>
            <a:endParaRPr lang="en-GB"/>
          </a:p>
        </p:txBody>
      </p:sp>
      <p:sp>
        <p:nvSpPr>
          <p:cNvPr id="4" name="TextBox 3">
            <a:extLst>
              <a:ext uri="{FF2B5EF4-FFF2-40B4-BE49-F238E27FC236}">
                <a16:creationId xmlns:a16="http://schemas.microsoft.com/office/drawing/2014/main" id="{19D7734E-8462-3606-BA24-3A7AA20BCAA2}"/>
              </a:ext>
            </a:extLst>
          </p:cNvPr>
          <p:cNvSpPr txBox="1"/>
          <p:nvPr/>
        </p:nvSpPr>
        <p:spPr>
          <a:xfrm>
            <a:off x="1025722" y="6457890"/>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8781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a:latin typeface="Arial"/>
                <a:cs typeface="Arial"/>
              </a:rPr>
              <a:t>Further supporting resources</a:t>
            </a:r>
            <a:endParaRPr lang="en-US" b="0">
              <a:latin typeface="Arial"/>
              <a:cs typeface="Arial"/>
            </a:endParaRPr>
          </a:p>
          <a:p>
            <a:endParaRPr lang="en-US"/>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169275" y="2571092"/>
            <a:ext cx="10917101" cy="3600000"/>
          </a:xfrm>
        </p:spPr>
        <p:txBody>
          <a:bodyPr/>
          <a:lstStyle/>
          <a:p>
            <a:pPr marL="0" indent="0">
              <a:buNone/>
            </a:pPr>
            <a:r>
              <a:rPr lang="en-GB" b="1">
                <a:latin typeface="Arial"/>
                <a:cs typeface="Arial"/>
              </a:rPr>
              <a:t>External resources</a:t>
            </a:r>
          </a:p>
          <a:p>
            <a:r>
              <a:rPr lang="en-GB">
                <a:latin typeface="Arial"/>
                <a:cs typeface="Arial"/>
                <a:hlinkClick r:id="rId2"/>
              </a:rPr>
              <a:t>IFST – </a:t>
            </a:r>
            <a:r>
              <a:rPr lang="en-GB" err="1">
                <a:latin typeface="Arial"/>
                <a:cs typeface="Arial"/>
                <a:hlinkClick r:id="rId2"/>
              </a:rPr>
              <a:t>dextrinisation</a:t>
            </a:r>
            <a:endParaRPr lang="en-GB">
              <a:latin typeface="Arial"/>
              <a:cs typeface="Arial"/>
            </a:endParaRPr>
          </a:p>
          <a:p>
            <a:r>
              <a:rPr lang="en-GB">
                <a:latin typeface="Arial"/>
                <a:cs typeface="Arial"/>
                <a:hlinkClick r:id="rId3"/>
              </a:rPr>
              <a:t>IFST – carbohydrates: caramelisation</a:t>
            </a:r>
            <a:endParaRPr lang="en-GB">
              <a:latin typeface="Arial"/>
              <a:cs typeface="Arial"/>
            </a:endParaRPr>
          </a:p>
          <a:p>
            <a:r>
              <a:rPr lang="en-GB">
                <a:latin typeface="Arial"/>
                <a:cs typeface="Arial"/>
                <a:hlinkClick r:id="rId4"/>
              </a:rPr>
              <a:t>RSC – What’s cooking? Understand the chemistry behind the colour changes in food</a:t>
            </a:r>
            <a:r>
              <a:rPr lang="en-GB">
                <a:latin typeface="Arial"/>
                <a:cs typeface="Arial"/>
              </a:rPr>
              <a:t>*</a:t>
            </a:r>
          </a:p>
          <a:p>
            <a:r>
              <a:rPr lang="en-GB">
                <a:latin typeface="Arial"/>
                <a:cs typeface="Arial"/>
                <a:hlinkClick r:id="rId5"/>
              </a:rPr>
              <a:t>RSC – The great chemistry cook off. What exactly is happening when foods change colour?</a:t>
            </a:r>
            <a:r>
              <a:rPr lang="en-GB">
                <a:latin typeface="Arial"/>
                <a:cs typeface="Arial"/>
              </a:rPr>
              <a:t>*</a:t>
            </a:r>
          </a:p>
          <a:p>
            <a:r>
              <a:rPr lang="en-GB">
                <a:latin typeface="Arial"/>
                <a:cs typeface="Arial"/>
                <a:hlinkClick r:id="rId6"/>
              </a:rPr>
              <a:t>RSC – Kitchen chemistry: Chemical changes during cooking</a:t>
            </a:r>
            <a:r>
              <a:rPr lang="en-GB">
                <a:latin typeface="Arial"/>
                <a:cs typeface="Arial"/>
              </a:rPr>
              <a:t>*</a:t>
            </a: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US" sz="2000" b="0" i="0" u="none" strike="noStrike" kern="1200" cap="none" spc="0" normalizeH="0" baseline="0" noProof="0">
                <a:ln>
                  <a:noFill/>
                </a:ln>
                <a:solidFill>
                  <a:prstClr val="black"/>
                </a:solidFill>
                <a:effectLst/>
                <a:uLnTx/>
                <a:uFillTx/>
                <a:latin typeface="Arial"/>
                <a:cs typeface="Arial"/>
              </a:rPr>
              <a:t>Resources around food science can be found here: </a:t>
            </a:r>
            <a:r>
              <a:rPr kumimoji="0" lang="en-US" sz="2000" b="0" i="0" u="none" strike="noStrike" kern="1200" cap="none" spc="0" normalizeH="0" baseline="0" noProof="0">
                <a:ln>
                  <a:noFill/>
                </a:ln>
                <a:solidFill>
                  <a:prstClr val="black"/>
                </a:solidFill>
                <a:effectLst/>
                <a:uLnTx/>
                <a:uFillTx/>
                <a:latin typeface="Arial"/>
                <a:cs typeface="Arial"/>
                <a:hlinkClick r:id="rId7"/>
              </a:rPr>
              <a:t>11-14 years</a:t>
            </a:r>
            <a:r>
              <a:rPr kumimoji="0" lang="en-US" sz="2000" b="0" i="0" u="none" strike="noStrike" kern="1200" cap="none" spc="0" normalizeH="0" baseline="0" noProof="0">
                <a:ln>
                  <a:noFill/>
                </a:ln>
                <a:solidFill>
                  <a:prstClr val="black"/>
                </a:solidFill>
                <a:effectLst/>
                <a:uLnTx/>
                <a:uFillTx/>
                <a:latin typeface="Arial"/>
                <a:cs typeface="Arial"/>
              </a:rPr>
              <a:t>, </a:t>
            </a:r>
            <a:r>
              <a:rPr kumimoji="0" lang="en-US" sz="2000" b="0" i="0" u="none" strike="noStrike" kern="1200" cap="none" spc="0" normalizeH="0" baseline="0" noProof="0">
                <a:ln>
                  <a:noFill/>
                </a:ln>
                <a:solidFill>
                  <a:prstClr val="black"/>
                </a:solidFill>
                <a:effectLst/>
                <a:uLnTx/>
                <a:uFillTx/>
                <a:latin typeface="Arial"/>
                <a:cs typeface="Arial"/>
                <a:hlinkClick r:id="rId8"/>
              </a:rPr>
              <a:t>14-16 years</a:t>
            </a:r>
            <a:endParaRPr kumimoji="0" lang="en-US" sz="2000" b="0" i="0" u="none" strike="noStrike" kern="1200" cap="none" spc="0" normalizeH="0" baseline="0" noProof="0">
              <a:ln>
                <a:noFill/>
              </a:ln>
              <a:solidFill>
                <a:prstClr val="black"/>
              </a:solidFill>
              <a:effectLst/>
              <a:uLnTx/>
              <a:uFillTx/>
              <a:latin typeface="Arial" charset="0"/>
              <a:cs typeface="Arial" charset="0"/>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Further information, support and resources around functional characteristics of ingredients can be found here </a:t>
            </a:r>
            <a:r>
              <a:rPr kumimoji="0" lang="en-GB" sz="2000" b="0" i="0" u="none" strike="noStrike" kern="1200" cap="none" spc="0" normalizeH="0" baseline="0" noProof="0">
                <a:ln>
                  <a:noFill/>
                </a:ln>
                <a:solidFill>
                  <a:prstClr val="black"/>
                </a:solidFill>
                <a:effectLst/>
                <a:uLnTx/>
                <a:uFillTx/>
                <a:latin typeface="Arial"/>
                <a:cs typeface="Arial"/>
                <a:hlinkClick r:id="rId9"/>
              </a:rPr>
              <a:t>11-14</a:t>
            </a:r>
            <a:r>
              <a:rPr kumimoji="0" lang="en-GB" sz="2000" b="0" i="0" u="none" strike="noStrike" kern="1200" cap="none" spc="0" normalizeH="0" baseline="0" noProof="0">
                <a:ln>
                  <a:noFill/>
                </a:ln>
                <a:solidFill>
                  <a:prstClr val="black"/>
                </a:solidFill>
                <a:effectLst/>
                <a:uLnTx/>
                <a:uFillTx/>
                <a:latin typeface="Arial"/>
                <a:cs typeface="Arial"/>
              </a:rPr>
              <a:t> and </a:t>
            </a:r>
            <a:r>
              <a:rPr kumimoji="0" lang="en-GB" sz="2000" b="0" i="0" u="none" strike="noStrike" kern="1200" cap="none" spc="0" normalizeH="0" baseline="0" noProof="0">
                <a:ln>
                  <a:noFill/>
                </a:ln>
                <a:solidFill>
                  <a:prstClr val="black"/>
                </a:solidFill>
                <a:effectLst/>
                <a:uLnTx/>
                <a:uFillTx/>
                <a:latin typeface="Arial"/>
                <a:cs typeface="Arial"/>
                <a:hlinkClick r:id="rId10"/>
              </a:rPr>
              <a:t>14-16</a:t>
            </a:r>
            <a:r>
              <a:rPr kumimoji="0" lang="en-GB" sz="2000" b="0" i="0" u="none" strike="noStrike" kern="1200" cap="none" spc="0" normalizeH="0" baseline="0" noProof="0">
                <a:ln>
                  <a:noFill/>
                </a:ln>
                <a:solidFill>
                  <a:prstClr val="black"/>
                </a:solidFill>
                <a:effectLst/>
                <a:uLnTx/>
                <a:uFillTx/>
                <a:latin typeface="Arial"/>
                <a:cs typeface="Arial"/>
              </a:rPr>
              <a:t>.</a:t>
            </a:r>
            <a:endParaRPr kumimoji="0" lang="en-US" sz="2000" b="0" i="0" u="none" strike="noStrike" kern="1200" cap="none" spc="0" normalizeH="0" baseline="0" noProof="0">
              <a:ln>
                <a:noFill/>
              </a:ln>
              <a:solidFill>
                <a:prstClr val="black"/>
              </a:solidFill>
              <a:effectLst/>
              <a:uLnTx/>
              <a:uFillTx/>
              <a:latin typeface="Arial" charset="0"/>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Ingredients - functional characteristics </a:t>
            </a:r>
            <a:r>
              <a:rPr kumimoji="0" lang="en-GB" sz="2000" b="0" i="0" u="none" strike="noStrike" kern="1200" cap="none" spc="0" normalizeH="0" baseline="0" noProof="0">
                <a:ln>
                  <a:noFill/>
                </a:ln>
                <a:solidFill>
                  <a:prstClr val="black"/>
                </a:solidFill>
                <a:effectLst/>
                <a:uLnTx/>
                <a:uFillTx/>
                <a:latin typeface="Arial"/>
                <a:cs typeface="Arial"/>
                <a:hlinkClick r:id="rId11"/>
              </a:rPr>
              <a:t>Knowledge Organiser 11-14</a:t>
            </a:r>
            <a:endParaRPr kumimoji="0" lang="en-GB" sz="2000" b="0" i="0" u="none" strike="noStrike" kern="1200" cap="none" spc="0" normalizeH="0" baseline="0" noProof="0">
              <a:ln>
                <a:noFill/>
              </a:ln>
              <a:solidFill>
                <a:prstClr val="black"/>
              </a:solidFill>
              <a:effectLst/>
              <a:uLnTx/>
              <a:uFillTx/>
              <a:latin typeface="Arial" charset="0"/>
              <a:cs typeface="Arial"/>
            </a:endParaRPr>
          </a:p>
          <a:p>
            <a:endParaRPr lang="en-GB">
              <a:latin typeface="Arial"/>
              <a:cs typeface="Arial"/>
            </a:endParaRPr>
          </a:p>
          <a:p>
            <a:endParaRPr lang="en-GB">
              <a:latin typeface="Arial"/>
              <a:cs typeface="Arial"/>
            </a:endParaRPr>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b="1"/>
          </a:p>
          <a:p>
            <a:pPr marL="0" indent="0">
              <a:buNone/>
            </a:pPr>
            <a:endParaRPr lang="en-GB" b="1"/>
          </a:p>
        </p:txBody>
      </p:sp>
      <p:sp>
        <p:nvSpPr>
          <p:cNvPr id="4" name="TextBox 3">
            <a:extLst>
              <a:ext uri="{FF2B5EF4-FFF2-40B4-BE49-F238E27FC236}">
                <a16:creationId xmlns:a16="http://schemas.microsoft.com/office/drawing/2014/main" id="{1C33AC9A-9D8A-AE30-CC3E-02F017C1DF13}"/>
              </a:ext>
            </a:extLst>
          </p:cNvPr>
          <p:cNvSpPr txBox="1"/>
          <p:nvPr/>
        </p:nvSpPr>
        <p:spPr>
          <a:xfrm>
            <a:off x="878187" y="6319886"/>
            <a:ext cx="4065006" cy="276999"/>
          </a:xfrm>
          <a:prstGeom prst="rect">
            <a:avLst/>
          </a:prstGeom>
          <a:noFill/>
        </p:spPr>
        <p:txBody>
          <a:bodyPr wrap="square" rtlCol="0">
            <a:spAutoFit/>
          </a:bodyPr>
          <a:lstStyle/>
          <a:p>
            <a:r>
              <a:rPr lang="en-GB" sz="1200">
                <a:latin typeface="Arial" panose="020B0604020202020204" pitchFamily="34" charset="0"/>
                <a:cs typeface="Arial" panose="020B0604020202020204" pitchFamily="34" charset="0"/>
              </a:rPr>
              <a:t>*more appropriate for older students</a:t>
            </a:r>
          </a:p>
        </p:txBody>
      </p:sp>
    </p:spTree>
    <p:extLst>
      <p:ext uri="{BB962C8B-B14F-4D97-AF65-F5344CB8AC3E}">
        <p14:creationId xmlns:p14="http://schemas.microsoft.com/office/powerpoint/2010/main" val="1109679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a:latin typeface="Arial"/>
                <a:cs typeface="Arial"/>
              </a:rPr>
              <a:t>Non-enzymic browning - recipes</a:t>
            </a:r>
            <a:endParaRPr lang="en-US"/>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169274" y="2427445"/>
            <a:ext cx="5300400" cy="3600000"/>
          </a:xfrm>
        </p:spPr>
        <p:txBody>
          <a:bodyPr/>
          <a:lstStyle/>
          <a:p>
            <a:pPr marL="0" indent="0">
              <a:buNone/>
            </a:pPr>
            <a:r>
              <a:rPr lang="en-US" b="1">
                <a:latin typeface="Arial"/>
                <a:cs typeface="Arial"/>
              </a:rPr>
              <a:t>Maillard reaction</a:t>
            </a:r>
          </a:p>
          <a:p>
            <a:r>
              <a:rPr lang="en-US">
                <a:latin typeface="Arial"/>
                <a:cs typeface="Arial"/>
              </a:rPr>
              <a:t>Pork and apple burgers</a:t>
            </a:r>
          </a:p>
          <a:p>
            <a:r>
              <a:rPr lang="en-US">
                <a:latin typeface="Arial"/>
                <a:cs typeface="Arial"/>
                <a:hlinkClick r:id="rId2"/>
              </a:rPr>
              <a:t>Al fresco beef kebabs</a:t>
            </a:r>
            <a:endParaRPr lang="en-US">
              <a:latin typeface="Arial"/>
              <a:cs typeface="Arial"/>
            </a:endParaRPr>
          </a:p>
          <a:p>
            <a:pPr marL="0" indent="0">
              <a:buNone/>
            </a:pPr>
            <a:r>
              <a:rPr lang="en-US" b="1" err="1">
                <a:latin typeface="Arial"/>
                <a:cs typeface="Arial"/>
              </a:rPr>
              <a:t>Caramelisation</a:t>
            </a:r>
            <a:endParaRPr lang="en-US" b="1">
              <a:latin typeface="Arial"/>
              <a:cs typeface="Arial"/>
            </a:endParaRPr>
          </a:p>
          <a:p>
            <a:r>
              <a:rPr lang="en-US" err="1">
                <a:latin typeface="Arial"/>
                <a:cs typeface="Arial"/>
              </a:rPr>
              <a:t>Caramelised</a:t>
            </a:r>
            <a:r>
              <a:rPr lang="en-US">
                <a:latin typeface="Arial"/>
                <a:cs typeface="Arial"/>
              </a:rPr>
              <a:t> onions</a:t>
            </a:r>
          </a:p>
          <a:p>
            <a:r>
              <a:rPr lang="en-US">
                <a:latin typeface="Arial"/>
                <a:cs typeface="Arial"/>
              </a:rPr>
              <a:t>Caramel sauce</a:t>
            </a:r>
          </a:p>
          <a:p>
            <a:endParaRPr lang="en-US"/>
          </a:p>
          <a:p>
            <a:endParaRPr lang="en-US"/>
          </a:p>
        </p:txBody>
      </p:sp>
      <p:sp>
        <p:nvSpPr>
          <p:cNvPr id="4" name="TextBox 3">
            <a:extLst>
              <a:ext uri="{FF2B5EF4-FFF2-40B4-BE49-F238E27FC236}">
                <a16:creationId xmlns:a16="http://schemas.microsoft.com/office/drawing/2014/main" id="{09F9000F-7818-C7CD-8F89-C912622960FD}"/>
              </a:ext>
            </a:extLst>
          </p:cNvPr>
          <p:cNvSpPr txBox="1"/>
          <p:nvPr/>
        </p:nvSpPr>
        <p:spPr>
          <a:xfrm>
            <a:off x="1032096" y="6078394"/>
            <a:ext cx="4065006" cy="461665"/>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Note that these reactions often occur together in cooking, to varying degrees, depending on conditions.</a:t>
            </a:r>
          </a:p>
        </p:txBody>
      </p:sp>
      <p:sp>
        <p:nvSpPr>
          <p:cNvPr id="5" name="Subtitle 2">
            <a:extLst>
              <a:ext uri="{FF2B5EF4-FFF2-40B4-BE49-F238E27FC236}">
                <a16:creationId xmlns:a16="http://schemas.microsoft.com/office/drawing/2014/main" id="{53E70E65-4207-2327-7511-FB0D6E1AF943}"/>
              </a:ext>
            </a:extLst>
          </p:cNvPr>
          <p:cNvSpPr txBox="1">
            <a:spLocks/>
          </p:cNvSpPr>
          <p:nvPr/>
        </p:nvSpPr>
        <p:spPr>
          <a:xfrm>
            <a:off x="5223717" y="2427445"/>
            <a:ext cx="5300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b="1" err="1">
                <a:latin typeface="Arial"/>
                <a:cs typeface="Arial"/>
              </a:rPr>
              <a:t>Dextrinisation</a:t>
            </a:r>
            <a:endParaRPr lang="en-US" b="1"/>
          </a:p>
          <a:p>
            <a:r>
              <a:rPr lang="en-US">
                <a:hlinkClick r:id="rId3"/>
              </a:rPr>
              <a:t>Quick bread buns</a:t>
            </a:r>
            <a:endParaRPr lang="en-US"/>
          </a:p>
          <a:p>
            <a:r>
              <a:rPr lang="en-US">
                <a:hlinkClick r:id="rId4"/>
              </a:rPr>
              <a:t>Devilled tomatoes on toast</a:t>
            </a:r>
            <a:endParaRPr lang="en-US"/>
          </a:p>
          <a:p>
            <a:r>
              <a:rPr lang="en-US">
                <a:hlinkClick r:id="rId5"/>
              </a:rPr>
              <a:t>Fish pie</a:t>
            </a:r>
            <a:r>
              <a:rPr lang="en-US"/>
              <a:t> (potato topping)</a:t>
            </a:r>
          </a:p>
          <a:p>
            <a:endParaRPr lang="en-US"/>
          </a:p>
          <a:p>
            <a:endParaRPr lang="en-US"/>
          </a:p>
        </p:txBody>
      </p:sp>
      <p:pic>
        <p:nvPicPr>
          <p:cNvPr id="6" name="Picture 5">
            <a:extLst>
              <a:ext uri="{FF2B5EF4-FFF2-40B4-BE49-F238E27FC236}">
                <a16:creationId xmlns:a16="http://schemas.microsoft.com/office/drawing/2014/main" id="{C4E96B97-798B-108D-D803-E748921067A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43083" y="4502864"/>
            <a:ext cx="4446191" cy="1582675"/>
          </a:xfrm>
          <a:prstGeom prst="rect">
            <a:avLst/>
          </a:prstGeom>
          <a:ln>
            <a:solidFill>
              <a:srgbClr val="FCC241"/>
            </a:solidFill>
          </a:ln>
        </p:spPr>
      </p:pic>
      <p:sp>
        <p:nvSpPr>
          <p:cNvPr id="7" name="TextBox 6">
            <a:extLst>
              <a:ext uri="{FF2B5EF4-FFF2-40B4-BE49-F238E27FC236}">
                <a16:creationId xmlns:a16="http://schemas.microsoft.com/office/drawing/2014/main" id="{83BEADFA-7F5D-901E-C298-ECA44EE5CF43}"/>
              </a:ext>
            </a:extLst>
          </p:cNvPr>
          <p:cNvSpPr txBox="1"/>
          <p:nvPr/>
        </p:nvSpPr>
        <p:spPr>
          <a:xfrm>
            <a:off x="9314996" y="3796365"/>
            <a:ext cx="2200080" cy="600164"/>
          </a:xfrm>
          <a:prstGeom prst="rect">
            <a:avLst/>
          </a:prstGeom>
          <a:solidFill>
            <a:srgbClr val="FCC241"/>
          </a:solidFill>
          <a:effectLst>
            <a:outerShdw blurRad="50800" dist="38100" dir="2700000" algn="tl" rotWithShape="0">
              <a:prstClr val="black">
                <a:alpha val="40000"/>
              </a:prstClr>
            </a:outerShdw>
          </a:effectLst>
        </p:spPr>
        <p:txBody>
          <a:bodyPr wrap="square" rtlCol="0">
            <a:spAutoFit/>
          </a:bodyPr>
          <a:lstStyle/>
          <a:p>
            <a:pPr algn="ctr"/>
            <a:r>
              <a:rPr lang="en-GB" sz="1100" b="1">
                <a:solidFill>
                  <a:schemeClr val="bg1"/>
                </a:solidFill>
                <a:latin typeface="Arial" panose="020B0604020202020204" pitchFamily="34" charset="0"/>
                <a:cs typeface="Arial" panose="020B0604020202020204" pitchFamily="34" charset="0"/>
              </a:rPr>
              <a:t>Go to the </a:t>
            </a:r>
            <a:r>
              <a:rPr lang="en-GB" sz="1100" b="1">
                <a:solidFill>
                  <a:schemeClr val="bg1"/>
                </a:solidFill>
                <a:latin typeface="Arial" panose="020B0604020202020204" pitchFamily="34" charset="0"/>
                <a:cs typeface="Arial" panose="020B0604020202020204" pitchFamily="34" charset="0"/>
                <a:hlinkClick r:id="rId7"/>
              </a:rPr>
              <a:t>recipes</a:t>
            </a:r>
            <a:r>
              <a:rPr lang="en-GB" sz="1100" b="1">
                <a:solidFill>
                  <a:schemeClr val="bg1"/>
                </a:solidFill>
                <a:latin typeface="Arial" panose="020B0604020202020204" pitchFamily="34" charset="0"/>
                <a:cs typeface="Arial" panose="020B0604020202020204" pitchFamily="34" charset="0"/>
              </a:rPr>
              <a:t> section and filter Food Skills for more recipes.</a:t>
            </a:r>
          </a:p>
        </p:txBody>
      </p:sp>
      <p:pic>
        <p:nvPicPr>
          <p:cNvPr id="8" name="Picture 7" descr="Shape&#10;&#10;Description automatically generated with low confidence">
            <a:extLst>
              <a:ext uri="{FF2B5EF4-FFF2-40B4-BE49-F238E27FC236}">
                <a16:creationId xmlns:a16="http://schemas.microsoft.com/office/drawing/2014/main" id="{A2AEB68A-CA3F-C8C3-03BD-5627C141E9E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0611979">
            <a:off x="10448440" y="4264228"/>
            <a:ext cx="439660" cy="7942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44731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Non-enzymic browning</a:t>
            </a:r>
            <a:endParaRPr lang="en-GB"/>
          </a:p>
        </p:txBody>
      </p:sp>
      <p:sp>
        <p:nvSpPr>
          <p:cNvPr id="3" name="Subtitle 2"/>
          <p:cNvSpPr>
            <a:spLocks noGrp="1"/>
          </p:cNvSpPr>
          <p:nvPr>
            <p:ph type="subTitle" idx="1"/>
          </p:nvPr>
        </p:nvSpPr>
        <p:spPr>
          <a:xfrm>
            <a:off x="566057" y="3065488"/>
            <a:ext cx="11244943"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indent="0" algn="ctr">
              <a:buNone/>
            </a:pPr>
            <a:r>
              <a:rPr lang="en-GB" sz="1400" kern="1200" dirty="0">
                <a:solidFill>
                  <a:srgbClr val="000000"/>
                </a:solidFill>
                <a:effectLst/>
                <a:latin typeface="Arial" panose="020B0604020202020204" pitchFamily="34" charset="0"/>
                <a:ea typeface="Arial" panose="020B0604020202020204" pitchFamily="34" charset="0"/>
              </a:rPr>
              <a:t>This food science pack is one of a series of resources produced for the </a:t>
            </a:r>
            <a:r>
              <a:rPr lang="en-GB" sz="1400" i="1" kern="1200" dirty="0" err="1">
                <a:solidFill>
                  <a:srgbClr val="000000"/>
                </a:solidFill>
                <a:effectLst/>
                <a:latin typeface="Arial" panose="020B0604020202020204" pitchFamily="34" charset="0"/>
                <a:ea typeface="Arial" panose="020B0604020202020204" pitchFamily="34" charset="0"/>
              </a:rPr>
              <a:t>pHood</a:t>
            </a:r>
            <a:r>
              <a:rPr lang="en-GB" sz="1400" i="1" kern="1200" dirty="0">
                <a:solidFill>
                  <a:srgbClr val="000000"/>
                </a:solidFill>
                <a:effectLst/>
                <a:latin typeface="Arial" panose="020B0604020202020204" pitchFamily="34" charset="0"/>
                <a:ea typeface="Arial" panose="020B0604020202020204" pitchFamily="34" charset="0"/>
              </a:rPr>
              <a:t> Futures </a:t>
            </a:r>
            <a:r>
              <a:rPr lang="en-GB" sz="1400" kern="1200" dirty="0">
                <a:solidFill>
                  <a:srgbClr val="000000"/>
                </a:solidFill>
                <a:effectLst/>
                <a:latin typeface="Arial" panose="020B0604020202020204" pitchFamily="34" charset="0"/>
                <a:ea typeface="Arial" panose="020B0604020202020204" pitchFamily="34" charset="0"/>
              </a:rPr>
              <a:t>project, supported by the Royal Society of Chemistry.</a:t>
            </a:r>
            <a:endParaRPr lang="en-GB" sz="1400" dirty="0">
              <a:effectLst/>
              <a:latin typeface="Times New Roman" panose="02020603050405020304" pitchFamily="18" charset="0"/>
              <a:ea typeface="Times New Roman" panose="02020603050405020304" pitchFamily="18"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F2402B9-1C15-43A5-BA83-134E8CCB376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3454" b="15202"/>
          <a:stretch/>
        </p:blipFill>
        <p:spPr bwMode="auto">
          <a:xfrm>
            <a:off x="6758680" y="2571092"/>
            <a:ext cx="5433320" cy="152339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err="1"/>
              <a:t>Dextrinisation</a:t>
            </a:r>
            <a:endParaRPr lang="en-GB"/>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8" y="2571092"/>
            <a:ext cx="5433320" cy="2344940"/>
          </a:xfrm>
        </p:spPr>
        <p:txBody>
          <a:bodyPr/>
          <a:lstStyle/>
          <a:p>
            <a:pPr marL="0" indent="0">
              <a:buNone/>
            </a:pPr>
            <a:r>
              <a:rPr lang="en-GB" err="1"/>
              <a:t>Dextrinisation</a:t>
            </a:r>
            <a:r>
              <a:rPr lang="en-GB"/>
              <a:t> is a reaction that causes the breakdown of starch.</a:t>
            </a:r>
          </a:p>
          <a:p>
            <a:pPr marL="0" indent="0">
              <a:buNone/>
            </a:pPr>
            <a:r>
              <a:rPr lang="en-GB"/>
              <a:t>This occurs when starchy foods are heated (without water).</a:t>
            </a:r>
          </a:p>
          <a:p>
            <a:pPr marL="0" indent="0">
              <a:buNone/>
            </a:pPr>
            <a:r>
              <a:rPr lang="en-GB"/>
              <a:t>Starch breaks down into ‘</a:t>
            </a:r>
            <a:r>
              <a:rPr lang="en-GB" err="1"/>
              <a:t>dextrins</a:t>
            </a:r>
            <a:r>
              <a:rPr lang="en-GB"/>
              <a:t>’, many of which are brown in colour and also provide a ‘toasty’ flavour.</a:t>
            </a:r>
          </a:p>
          <a:p>
            <a:pPr marL="0" indent="0">
              <a:buNone/>
            </a:pPr>
            <a:r>
              <a:rPr lang="en-GB"/>
              <a:t>If </a:t>
            </a:r>
            <a:r>
              <a:rPr lang="en-GB" err="1"/>
              <a:t>dextrinisation</a:t>
            </a:r>
            <a:r>
              <a:rPr lang="en-GB"/>
              <a:t> goes on for too long, </a:t>
            </a:r>
            <a:r>
              <a:rPr lang="en-GB" err="1"/>
              <a:t>dextrins</a:t>
            </a:r>
            <a:r>
              <a:rPr lang="en-GB"/>
              <a:t> can break down further and result in burnt smells and blackening.</a:t>
            </a:r>
          </a:p>
          <a:p>
            <a:pPr marL="0" indent="0">
              <a:buNone/>
            </a:pPr>
            <a:endParaRPr lang="en-GB"/>
          </a:p>
          <a:p>
            <a:pPr marL="0" indent="0">
              <a:buNone/>
            </a:pPr>
            <a:endParaRPr lang="en-GB"/>
          </a:p>
        </p:txBody>
      </p:sp>
      <p:sp>
        <p:nvSpPr>
          <p:cNvPr id="5" name="Subtitle 2">
            <a:extLst>
              <a:ext uri="{FF2B5EF4-FFF2-40B4-BE49-F238E27FC236}">
                <a16:creationId xmlns:a16="http://schemas.microsoft.com/office/drawing/2014/main" id="{15730178-6725-4ED1-A0F7-6EFDC321DCBC}"/>
              </a:ext>
            </a:extLst>
          </p:cNvPr>
          <p:cNvSpPr txBox="1">
            <a:spLocks/>
          </p:cNvSpPr>
          <p:nvPr/>
        </p:nvSpPr>
        <p:spPr>
          <a:xfrm>
            <a:off x="7261703" y="4534662"/>
            <a:ext cx="4427274" cy="1106771"/>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sz="1200" dirty="0"/>
              <a:t>A good example of </a:t>
            </a:r>
            <a:r>
              <a:rPr lang="en-GB" sz="1200" dirty="0" err="1"/>
              <a:t>dextrinisation</a:t>
            </a:r>
            <a:r>
              <a:rPr lang="en-GB" sz="1200" dirty="0"/>
              <a:t> in action is toasting bread. </a:t>
            </a:r>
            <a:r>
              <a:rPr lang="en-GB" sz="1200" dirty="0" err="1"/>
              <a:t>Dextrinisation</a:t>
            </a:r>
            <a:r>
              <a:rPr lang="en-GB" sz="1200" dirty="0"/>
              <a:t> changes the colour of the bread and produces ‘toasty’ aromas.</a:t>
            </a:r>
          </a:p>
          <a:p>
            <a:pPr marL="0" indent="0" algn="ctr">
              <a:buFont typeface="Arial" charset="0"/>
              <a:buNone/>
            </a:pPr>
            <a:r>
              <a:rPr lang="en-GB" sz="1200" dirty="0"/>
              <a:t>As bread is toasted for longer, more starch is broken down.</a:t>
            </a:r>
          </a:p>
          <a:p>
            <a:pPr marL="0" indent="0" algn="ctr">
              <a:buFont typeface="Arial" charset="0"/>
              <a:buNone/>
            </a:pPr>
            <a:r>
              <a:rPr lang="en-GB" sz="1200" dirty="0"/>
              <a:t>If </a:t>
            </a:r>
            <a:r>
              <a:rPr lang="en-GB" sz="1200" dirty="0" err="1"/>
              <a:t>dextrinisation</a:t>
            </a:r>
            <a:r>
              <a:rPr lang="en-GB" sz="1200" dirty="0"/>
              <a:t> continues for too long, the toast becomes burnt.</a:t>
            </a:r>
          </a:p>
          <a:p>
            <a:pPr marL="0" indent="0" algn="ctr">
              <a:buFont typeface="Arial" charset="0"/>
              <a:buNone/>
            </a:pPr>
            <a:endParaRPr lang="en-GB" sz="1200" dirty="0"/>
          </a:p>
          <a:p>
            <a:pPr marL="0" indent="0" algn="ctr">
              <a:buFont typeface="Arial" charset="0"/>
              <a:buNone/>
            </a:pPr>
            <a:endParaRPr lang="en-GB" sz="1200" dirty="0"/>
          </a:p>
        </p:txBody>
      </p:sp>
    </p:spTree>
    <p:extLst>
      <p:ext uri="{BB962C8B-B14F-4D97-AF65-F5344CB8AC3E}">
        <p14:creationId xmlns:p14="http://schemas.microsoft.com/office/powerpoint/2010/main" val="3439367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a:t>Caramelisation</a:t>
            </a:r>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7" y="2571092"/>
            <a:ext cx="6363206" cy="3600000"/>
          </a:xfrm>
        </p:spPr>
        <p:txBody>
          <a:bodyPr/>
          <a:lstStyle/>
          <a:p>
            <a:pPr marL="0" indent="0">
              <a:buNone/>
            </a:pPr>
            <a:r>
              <a:rPr lang="en-GB"/>
              <a:t>Caramelisation is another non-enzymic browning reaction.</a:t>
            </a:r>
          </a:p>
          <a:p>
            <a:pPr marL="0" indent="0">
              <a:buNone/>
            </a:pPr>
            <a:r>
              <a:rPr lang="en-GB"/>
              <a:t>However, unlike </a:t>
            </a:r>
            <a:r>
              <a:rPr lang="en-GB" err="1"/>
              <a:t>dextrinisation</a:t>
            </a:r>
            <a:r>
              <a:rPr lang="en-GB"/>
              <a:t>, caramelisation is a reaction involving the breakdown and reaction of sugars, rather than starches.</a:t>
            </a:r>
          </a:p>
          <a:p>
            <a:pPr marL="0" indent="0">
              <a:buNone/>
            </a:pPr>
            <a:r>
              <a:rPr lang="en-GB"/>
              <a:t>Caramelisation commonly occurs in desserts (such as a crème </a:t>
            </a:r>
            <a:r>
              <a:rPr lang="en-GB" err="1"/>
              <a:t>brulee</a:t>
            </a:r>
            <a:r>
              <a:rPr lang="en-GB"/>
              <a:t>, see video) but also in sauteed vegetables (e.g. carrots, onions).</a:t>
            </a:r>
          </a:p>
          <a:p>
            <a:pPr marL="0" indent="0">
              <a:buNone/>
            </a:pPr>
            <a:endParaRPr lang="en-GB"/>
          </a:p>
          <a:p>
            <a:pPr marL="0" indent="0">
              <a:buNone/>
            </a:pPr>
            <a:endParaRPr lang="en-GB"/>
          </a:p>
          <a:p>
            <a:endParaRPr lang="en-GB"/>
          </a:p>
          <a:p>
            <a:pPr marL="0" indent="0">
              <a:buNone/>
            </a:pPr>
            <a:endParaRPr lang="en-GB"/>
          </a:p>
          <a:p>
            <a:pPr marL="0" indent="0">
              <a:buNone/>
            </a:pPr>
            <a:endParaRPr lang="en-GB"/>
          </a:p>
        </p:txBody>
      </p:sp>
      <p:pic>
        <p:nvPicPr>
          <p:cNvPr id="4" name="Online Media 3" title="Creme Brulee Caramelisation">
            <a:hlinkClick r:id="" action="ppaction://media"/>
            <a:extLst>
              <a:ext uri="{FF2B5EF4-FFF2-40B4-BE49-F238E27FC236}">
                <a16:creationId xmlns:a16="http://schemas.microsoft.com/office/drawing/2014/main" id="{E28EFFED-B566-4566-BB7A-487FC7AA9569}"/>
              </a:ext>
            </a:extLst>
          </p:cNvPr>
          <p:cNvPicPr>
            <a:picLocks noRot="1" noChangeAspect="1"/>
          </p:cNvPicPr>
          <p:nvPr>
            <a:videoFile r:link="rId1"/>
          </p:nvPr>
        </p:nvPicPr>
        <p:blipFill>
          <a:blip r:embed="rId3"/>
          <a:stretch>
            <a:fillRect/>
          </a:stretch>
        </p:blipFill>
        <p:spPr>
          <a:xfrm>
            <a:off x="8014295" y="2827350"/>
            <a:ext cx="3744853" cy="2115842"/>
          </a:xfrm>
          <a:prstGeom prst="rect">
            <a:avLst/>
          </a:prstGeom>
        </p:spPr>
      </p:pic>
      <p:sp>
        <p:nvSpPr>
          <p:cNvPr id="5" name="TextBox 4">
            <a:extLst>
              <a:ext uri="{FF2B5EF4-FFF2-40B4-BE49-F238E27FC236}">
                <a16:creationId xmlns:a16="http://schemas.microsoft.com/office/drawing/2014/main" id="{F2E76F33-A801-BBB7-3AEE-9F865E4B391D}"/>
              </a:ext>
            </a:extLst>
          </p:cNvPr>
          <p:cNvSpPr txBox="1"/>
          <p:nvPr/>
        </p:nvSpPr>
        <p:spPr>
          <a:xfrm>
            <a:off x="8090259" y="4994120"/>
            <a:ext cx="3592923" cy="600164"/>
          </a:xfrm>
          <a:prstGeom prst="rect">
            <a:avLst/>
          </a:prstGeom>
          <a:noFill/>
        </p:spPr>
        <p:txBody>
          <a:bodyPr wrap="square" rtlCol="0">
            <a:spAutoFit/>
          </a:bodyPr>
          <a:lstStyle/>
          <a:p>
            <a:pPr algn="ctr"/>
            <a:r>
              <a:rPr lang="en-GB" sz="1100" b="0" i="0">
                <a:effectLst/>
                <a:latin typeface="Arial" panose="020B0604020202020204" pitchFamily="34" charset="0"/>
                <a:cs typeface="Arial" panose="020B0604020202020204" pitchFamily="34" charset="0"/>
              </a:rPr>
              <a:t>The heat of the blowtorch causes the sugar on top of this  crème </a:t>
            </a:r>
            <a:r>
              <a:rPr lang="en-GB" sz="1100" b="0" i="0" err="1">
                <a:effectLst/>
                <a:latin typeface="Arial" panose="020B0604020202020204" pitchFamily="34" charset="0"/>
                <a:cs typeface="Arial" panose="020B0604020202020204" pitchFamily="34" charset="0"/>
              </a:rPr>
              <a:t>brûlée</a:t>
            </a:r>
            <a:r>
              <a:rPr lang="en-GB" sz="1100" b="0" i="0">
                <a:effectLst/>
                <a:latin typeface="Arial" panose="020B0604020202020204" pitchFamily="34" charset="0"/>
                <a:cs typeface="Arial" panose="020B0604020202020204" pitchFamily="34" charset="0"/>
              </a:rPr>
              <a:t> to caramelise rapidly, forming a hard, sweet crust with a browned appearance.</a:t>
            </a:r>
            <a:endParaRPr lang="en-GB"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5441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a:t>Making caramel</a:t>
            </a:r>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7" y="2571092"/>
            <a:ext cx="6363206" cy="3600000"/>
          </a:xfrm>
        </p:spPr>
        <p:txBody>
          <a:bodyPr/>
          <a:lstStyle/>
          <a:p>
            <a:pPr marL="0" indent="0">
              <a:buNone/>
            </a:pPr>
            <a:r>
              <a:rPr lang="en-GB"/>
              <a:t>Usually, sucrose (table sugar) is used to make caramel.</a:t>
            </a:r>
          </a:p>
          <a:p>
            <a:pPr marL="0" indent="0">
              <a:buNone/>
            </a:pPr>
            <a:r>
              <a:rPr lang="en-GB"/>
              <a:t>Sugar is heated slowly and the sucrose splits into glucose and fructose, which then combine to form different types of brown molecules.</a:t>
            </a:r>
          </a:p>
          <a:p>
            <a:pPr marL="0" indent="0">
              <a:buNone/>
            </a:pPr>
            <a:r>
              <a:rPr lang="en-GB"/>
              <a:t>These complex molecules also create the distinctive smell and taste of caramel.</a:t>
            </a:r>
          </a:p>
          <a:p>
            <a:pPr marL="0" indent="0">
              <a:buNone/>
            </a:pPr>
            <a:r>
              <a:rPr lang="en-GB"/>
              <a:t>Caramel sauces are made by a similar method but also include cream or vegetable oils. This results in a softer end product.</a:t>
            </a:r>
          </a:p>
          <a:p>
            <a:pPr marL="0" indent="0">
              <a:buNone/>
            </a:pPr>
            <a:r>
              <a:rPr lang="en-GB"/>
              <a:t>Toffee is a product of heated sugars, caramel and butter.</a:t>
            </a:r>
          </a:p>
          <a:p>
            <a:pPr marL="0" indent="0">
              <a:buNone/>
            </a:pPr>
            <a:endParaRPr lang="en-GB"/>
          </a:p>
          <a:p>
            <a:pPr marL="0" indent="0">
              <a:buNone/>
            </a:pPr>
            <a:endParaRPr lang="en-GB"/>
          </a:p>
          <a:p>
            <a:endParaRPr lang="en-GB"/>
          </a:p>
          <a:p>
            <a:pPr marL="0" indent="0">
              <a:buNone/>
            </a:pPr>
            <a:endParaRPr lang="en-GB"/>
          </a:p>
          <a:p>
            <a:pPr marL="0" indent="0">
              <a:buNone/>
            </a:pPr>
            <a:endParaRPr lang="en-GB"/>
          </a:p>
        </p:txBody>
      </p:sp>
      <p:pic>
        <p:nvPicPr>
          <p:cNvPr id="5" name="Picture 4" descr="A picture containing food, dish&#10;&#10;Description automatically generated">
            <a:extLst>
              <a:ext uri="{FF2B5EF4-FFF2-40B4-BE49-F238E27FC236}">
                <a16:creationId xmlns:a16="http://schemas.microsoft.com/office/drawing/2014/main" id="{0F7A102C-3C6F-563E-4FC8-388F74CBD969}"/>
              </a:ext>
            </a:extLst>
          </p:cNvPr>
          <p:cNvPicPr>
            <a:picLocks noChangeAspect="1"/>
          </p:cNvPicPr>
          <p:nvPr/>
        </p:nvPicPr>
        <p:blipFill>
          <a:blip r:embed="rId2"/>
          <a:stretch>
            <a:fillRect/>
          </a:stretch>
        </p:blipFill>
        <p:spPr>
          <a:xfrm>
            <a:off x="7967762" y="2754798"/>
            <a:ext cx="3684048" cy="2455472"/>
          </a:xfrm>
          <a:prstGeom prst="rect">
            <a:avLst/>
          </a:prstGeom>
        </p:spPr>
      </p:pic>
    </p:spTree>
    <p:extLst>
      <p:ext uri="{BB962C8B-B14F-4D97-AF65-F5344CB8AC3E}">
        <p14:creationId xmlns:p14="http://schemas.microsoft.com/office/powerpoint/2010/main" val="19998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a:t>Caramelisation of fruits and vegetables</a:t>
            </a:r>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7" y="2571092"/>
            <a:ext cx="6363206" cy="3600000"/>
          </a:xfrm>
        </p:spPr>
        <p:txBody>
          <a:bodyPr/>
          <a:lstStyle/>
          <a:p>
            <a:pPr marL="0" indent="0">
              <a:buNone/>
            </a:pPr>
            <a:r>
              <a:rPr lang="en-GB"/>
              <a:t>Caramelisation can also occur in fruits and vegetables, particularly in those with higher sugar content.</a:t>
            </a:r>
          </a:p>
          <a:p>
            <a:pPr marL="0" indent="0">
              <a:buNone/>
            </a:pPr>
            <a:r>
              <a:rPr lang="en-GB"/>
              <a:t>Carrots are a typical example. They are naturally high in glucose, fructose and sucrose.</a:t>
            </a:r>
          </a:p>
          <a:p>
            <a:pPr marL="0" indent="0">
              <a:buNone/>
            </a:pPr>
            <a:r>
              <a:rPr lang="en-GB"/>
              <a:t>This means that they brown and gain some caramel flavours when cooked at high enough temperatures.</a:t>
            </a:r>
          </a:p>
          <a:p>
            <a:pPr marL="0" indent="0">
              <a:buNone/>
            </a:pPr>
            <a:r>
              <a:rPr lang="en-GB"/>
              <a:t>Sometimes, more sugar can be added to increase the degree of caramelisation.</a:t>
            </a:r>
          </a:p>
          <a:p>
            <a:pPr marL="0" indent="0">
              <a:buNone/>
            </a:pPr>
            <a:endParaRPr lang="en-GB"/>
          </a:p>
          <a:p>
            <a:pPr marL="0" indent="0">
              <a:buNone/>
            </a:pPr>
            <a:endParaRPr lang="en-GB"/>
          </a:p>
          <a:p>
            <a:endParaRPr lang="en-GB"/>
          </a:p>
          <a:p>
            <a:pPr marL="0" indent="0">
              <a:buNone/>
            </a:pPr>
            <a:endParaRPr lang="en-GB"/>
          </a:p>
          <a:p>
            <a:pPr marL="0" indent="0">
              <a:buNone/>
            </a:pPr>
            <a:endParaRPr lang="en-GB"/>
          </a:p>
        </p:txBody>
      </p:sp>
      <p:pic>
        <p:nvPicPr>
          <p:cNvPr id="5" name="Picture 4" descr="A group of carrots&#10;&#10;Description automatically generated with low confidence">
            <a:extLst>
              <a:ext uri="{FF2B5EF4-FFF2-40B4-BE49-F238E27FC236}">
                <a16:creationId xmlns:a16="http://schemas.microsoft.com/office/drawing/2014/main" id="{DFF7D20F-7FB9-EA0A-3EB2-7542CE7A8286}"/>
              </a:ext>
            </a:extLst>
          </p:cNvPr>
          <p:cNvPicPr>
            <a:picLocks noChangeAspect="1"/>
          </p:cNvPicPr>
          <p:nvPr/>
        </p:nvPicPr>
        <p:blipFill>
          <a:blip r:embed="rId2"/>
          <a:stretch>
            <a:fillRect/>
          </a:stretch>
        </p:blipFill>
        <p:spPr>
          <a:xfrm>
            <a:off x="8083363" y="2806481"/>
            <a:ext cx="3577499" cy="2683124"/>
          </a:xfrm>
          <a:prstGeom prst="rect">
            <a:avLst/>
          </a:prstGeom>
        </p:spPr>
      </p:pic>
    </p:spTree>
    <p:extLst>
      <p:ext uri="{BB962C8B-B14F-4D97-AF65-F5344CB8AC3E}">
        <p14:creationId xmlns:p14="http://schemas.microsoft.com/office/powerpoint/2010/main" val="3019760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Maillard reaction - introduction</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2404888" y="3159790"/>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84716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The Maillard reaction’ actually refers to a lot of many different reactions that occur when certain foods are cooked.</a:t>
            </a:r>
          </a:p>
          <a:p>
            <a:pPr marL="0" indent="0">
              <a:buFont typeface="Arial" charset="0"/>
              <a:buNone/>
            </a:pPr>
            <a:r>
              <a:rPr lang="en-US"/>
              <a:t>The reactions start when amino acids (the building blocks of proteins in food) react with a ‘reducing sugar’.</a:t>
            </a:r>
          </a:p>
          <a:p>
            <a:pPr marL="0" indent="0">
              <a:buFont typeface="Arial" charset="0"/>
              <a:buNone/>
            </a:pPr>
            <a:r>
              <a:rPr lang="en-US"/>
              <a:t>A reducing sugar is a sugar with a chemical group that is ‘free’ to react. </a:t>
            </a:r>
          </a:p>
          <a:p>
            <a:pPr marL="0" indent="0">
              <a:buFont typeface="Arial" charset="0"/>
              <a:buNone/>
            </a:pPr>
            <a:endParaRPr lang="en-US"/>
          </a:p>
          <a:p>
            <a:pPr marL="0" indent="0">
              <a:buFont typeface="Arial" charset="0"/>
              <a:buNone/>
            </a:pPr>
            <a:endParaRPr lang="en-US"/>
          </a:p>
        </p:txBody>
      </p:sp>
      <p:pic>
        <p:nvPicPr>
          <p:cNvPr id="5" name="Picture 4" descr="Timeline&#10;&#10;Description automatically generated">
            <a:extLst>
              <a:ext uri="{FF2B5EF4-FFF2-40B4-BE49-F238E27FC236}">
                <a16:creationId xmlns:a16="http://schemas.microsoft.com/office/drawing/2014/main" id="{E08D3773-5478-7B6F-6A93-263511318713}"/>
              </a:ext>
            </a:extLst>
          </p:cNvPr>
          <p:cNvPicPr>
            <a:picLocks noChangeAspect="1"/>
          </p:cNvPicPr>
          <p:nvPr/>
        </p:nvPicPr>
        <p:blipFill>
          <a:blip r:embed="rId2"/>
          <a:stretch>
            <a:fillRect/>
          </a:stretch>
        </p:blipFill>
        <p:spPr>
          <a:xfrm>
            <a:off x="7932121" y="2872496"/>
            <a:ext cx="3709982" cy="2622957"/>
          </a:xfrm>
          <a:prstGeom prst="rect">
            <a:avLst/>
          </a:prstGeom>
          <a:ln w="28575">
            <a:solidFill>
              <a:srgbClr val="EF9F3F"/>
            </a:solidFill>
          </a:ln>
        </p:spPr>
      </p:pic>
    </p:spTree>
    <p:extLst>
      <p:ext uri="{BB962C8B-B14F-4D97-AF65-F5344CB8AC3E}">
        <p14:creationId xmlns:p14="http://schemas.microsoft.com/office/powerpoint/2010/main" val="29391498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Maillard reaction - continued</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2404888" y="3159790"/>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84716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dirty="0"/>
              <a:t>As the Maillard reaction continues, multiple different, complex molecules are produced. Many of these are brown and contribute to the </a:t>
            </a:r>
            <a:r>
              <a:rPr lang="en-US" dirty="0" err="1"/>
              <a:t>colour</a:t>
            </a:r>
            <a:r>
              <a:rPr lang="en-US" dirty="0"/>
              <a:t> of foods such as baked goods and meat.</a:t>
            </a:r>
          </a:p>
          <a:p>
            <a:pPr marL="0" indent="0">
              <a:buFont typeface="Arial" charset="0"/>
              <a:buNone/>
            </a:pPr>
            <a:r>
              <a:rPr lang="en-US" dirty="0"/>
              <a:t>Not only do these compounds make the food look more </a:t>
            </a:r>
            <a:r>
              <a:rPr lang="en-US" dirty="0" err="1"/>
              <a:t>appetising</a:t>
            </a:r>
            <a:r>
              <a:rPr lang="en-US" dirty="0"/>
              <a:t>, they also change the smell and </a:t>
            </a:r>
            <a:r>
              <a:rPr lang="en-US" dirty="0" err="1"/>
              <a:t>flavour</a:t>
            </a:r>
            <a:r>
              <a:rPr lang="en-US" dirty="0"/>
              <a:t>.</a:t>
            </a:r>
          </a:p>
          <a:p>
            <a:pPr marL="0" indent="0">
              <a:buFont typeface="Arial" charset="0"/>
              <a:buNone/>
            </a:pPr>
            <a:r>
              <a:rPr lang="en-US" dirty="0"/>
              <a:t>The distinctive aromas of freshly baked bread and a seared steak are largely because of the Maillard reaction.</a:t>
            </a:r>
          </a:p>
          <a:p>
            <a:pPr marL="0" indent="0">
              <a:buFont typeface="Arial" charset="0"/>
              <a:buNone/>
            </a:pPr>
            <a:endParaRPr lang="en-US" dirty="0"/>
          </a:p>
        </p:txBody>
      </p:sp>
      <p:pic>
        <p:nvPicPr>
          <p:cNvPr id="5" name="Picture 4" descr="A picture containing food, bread&#10;&#10;Description automatically generated">
            <a:extLst>
              <a:ext uri="{FF2B5EF4-FFF2-40B4-BE49-F238E27FC236}">
                <a16:creationId xmlns:a16="http://schemas.microsoft.com/office/drawing/2014/main" id="{E1470B2F-AEFF-4E66-5F4D-F2A6D57AD3CF}"/>
              </a:ext>
            </a:extLst>
          </p:cNvPr>
          <p:cNvPicPr>
            <a:picLocks noChangeAspect="1"/>
          </p:cNvPicPr>
          <p:nvPr/>
        </p:nvPicPr>
        <p:blipFill>
          <a:blip r:embed="rId2"/>
          <a:stretch>
            <a:fillRect/>
          </a:stretch>
        </p:blipFill>
        <p:spPr>
          <a:xfrm>
            <a:off x="8035266" y="2705144"/>
            <a:ext cx="3503691" cy="2704849"/>
          </a:xfrm>
          <a:prstGeom prst="rect">
            <a:avLst/>
          </a:prstGeom>
        </p:spPr>
      </p:pic>
    </p:spTree>
    <p:extLst>
      <p:ext uri="{BB962C8B-B14F-4D97-AF65-F5344CB8AC3E}">
        <p14:creationId xmlns:p14="http://schemas.microsoft.com/office/powerpoint/2010/main" val="39591028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Maillard reaction - conditions</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2404888" y="3159790"/>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6037066"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dirty="0"/>
              <a:t>The Maillard reaction occurs rapidly between 140-165°C but does occur at slower rates above and below this range. </a:t>
            </a:r>
          </a:p>
          <a:p>
            <a:pPr marL="0" indent="0">
              <a:buFont typeface="Arial" charset="0"/>
              <a:buNone/>
            </a:pPr>
            <a:r>
              <a:rPr lang="en-US" dirty="0"/>
              <a:t>As temperatures get higher, the amount of </a:t>
            </a:r>
            <a:r>
              <a:rPr lang="en-US" dirty="0" err="1"/>
              <a:t>caramelisation</a:t>
            </a:r>
            <a:r>
              <a:rPr lang="en-US" dirty="0"/>
              <a:t> increases and breaks down the sugars, which limits the Maillard reaction.</a:t>
            </a:r>
          </a:p>
          <a:p>
            <a:pPr marL="0" indent="0">
              <a:buFont typeface="Arial" charset="0"/>
              <a:buNone/>
            </a:pPr>
            <a:r>
              <a:rPr lang="en-US" dirty="0"/>
              <a:t>Too much water can prevent the Maillard reaction and reduce the amount of browning.</a:t>
            </a:r>
          </a:p>
          <a:p>
            <a:pPr marL="0" indent="0">
              <a:buFont typeface="Arial" charset="0"/>
              <a:buNone/>
            </a:pPr>
            <a:r>
              <a:rPr lang="en-US" dirty="0"/>
              <a:t>For example, if a steak was cooked in a frying pan with added water, it would not go as brown, even if it is cooked at the same temperature.</a:t>
            </a:r>
          </a:p>
        </p:txBody>
      </p:sp>
      <p:pic>
        <p:nvPicPr>
          <p:cNvPr id="5" name="Picture 4" descr="A picture containing food, plate, dish, meal&#10;&#10;Description automatically generated">
            <a:extLst>
              <a:ext uri="{FF2B5EF4-FFF2-40B4-BE49-F238E27FC236}">
                <a16:creationId xmlns:a16="http://schemas.microsoft.com/office/drawing/2014/main" id="{F44E595C-4948-9C65-7815-BC2E14947D8E}"/>
              </a:ext>
            </a:extLst>
          </p:cNvPr>
          <p:cNvPicPr>
            <a:picLocks noChangeAspect="1"/>
          </p:cNvPicPr>
          <p:nvPr/>
        </p:nvPicPr>
        <p:blipFill>
          <a:blip r:embed="rId2"/>
          <a:stretch>
            <a:fillRect/>
          </a:stretch>
        </p:blipFill>
        <p:spPr>
          <a:xfrm>
            <a:off x="7975383" y="2752538"/>
            <a:ext cx="3623457" cy="2670488"/>
          </a:xfrm>
          <a:prstGeom prst="rect">
            <a:avLst/>
          </a:prstGeom>
        </p:spPr>
      </p:pic>
    </p:spTree>
    <p:extLst>
      <p:ext uri="{BB962C8B-B14F-4D97-AF65-F5344CB8AC3E}">
        <p14:creationId xmlns:p14="http://schemas.microsoft.com/office/powerpoint/2010/main" val="2231330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7</TotalTime>
  <Words>1991</Words>
  <Application>Microsoft Office PowerPoint</Application>
  <PresentationFormat>Widescreen</PresentationFormat>
  <Paragraphs>321</Paragraphs>
  <Slides>25</Slides>
  <Notes>2</Notes>
  <HiddenSlides>0</HiddenSlides>
  <MMClips>1</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5" baseType="lpstr">
      <vt:lpstr>Arial</vt:lpstr>
      <vt:lpstr>Arial Black</vt:lpstr>
      <vt:lpstr>Calibri</vt:lpstr>
      <vt:lpstr>Roboto</vt:lpstr>
      <vt:lpstr>Times New Roman</vt:lpstr>
      <vt:lpstr>Office Theme</vt:lpstr>
      <vt:lpstr>Custom Design</vt:lpstr>
      <vt:lpstr>1_Custom Design</vt:lpstr>
      <vt:lpstr>3_Custom Design</vt:lpstr>
      <vt:lpstr>think-cell Slide</vt:lpstr>
      <vt:lpstr>Non-enzymic browning</vt:lpstr>
      <vt:lpstr>Introduction</vt:lpstr>
      <vt:lpstr>Dextrinisation</vt:lpstr>
      <vt:lpstr>Caramelisation</vt:lpstr>
      <vt:lpstr>Making caramel</vt:lpstr>
      <vt:lpstr>Caramelisation of fruits and vegetables</vt:lpstr>
      <vt:lpstr>The Maillard reaction - introduction</vt:lpstr>
      <vt:lpstr>The Maillard reaction - continued</vt:lpstr>
      <vt:lpstr>The Maillard reaction - conditions</vt:lpstr>
      <vt:lpstr>Key words </vt:lpstr>
      <vt:lpstr>Key words </vt:lpstr>
      <vt:lpstr>Teacher’s guide</vt:lpstr>
      <vt:lpstr>Teaching about non-enzymic browning: </vt:lpstr>
      <vt:lpstr>Introduction</vt:lpstr>
      <vt:lpstr>Dextrinisation</vt:lpstr>
      <vt:lpstr>Caramelisation</vt:lpstr>
      <vt:lpstr>Caramelisation - continued</vt:lpstr>
      <vt:lpstr>The Maillard reaction</vt:lpstr>
      <vt:lpstr>The Maillard reaction - conditions</vt:lpstr>
      <vt:lpstr>The Maillard reaction – flavour and aroma</vt:lpstr>
      <vt:lpstr>Non-enzymic browning reactions </vt:lpstr>
      <vt:lpstr>Non-enzymic browning - activities</vt:lpstr>
      <vt:lpstr>Further supporting resources </vt:lpstr>
      <vt:lpstr>Non-enzymic browning - recipes</vt:lpstr>
      <vt:lpstr>Non-enzymic brow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cp:revision>
  <dcterms:created xsi:type="dcterms:W3CDTF">2018-10-10T09:22:08Z</dcterms:created>
  <dcterms:modified xsi:type="dcterms:W3CDTF">2022-08-30T11:3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